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charts/colors1.xml" ContentType="application/vnd.ms-office.chartcolorstyle+xml"/>
  <Override PartName="/ppt/charts/colors10.xml" ContentType="application/vnd.ms-office.chartcolorstyle+xml"/>
  <Override PartName="/ppt/charts/colors11.xml" ContentType="application/vnd.ms-office.chartcolorstyle+xml"/>
  <Override PartName="/ppt/charts/colors12.xml" ContentType="application/vnd.ms-office.chartcolorstyle+xml"/>
  <Override PartName="/ppt/charts/colors13.xml" ContentType="application/vnd.ms-office.chartcolorstyle+xml"/>
  <Override PartName="/ppt/charts/colors14.xml" ContentType="application/vnd.ms-office.chartcolorstyle+xml"/>
  <Override PartName="/ppt/charts/colors15.xml" ContentType="application/vnd.ms-office.chartcolorstyle+xml"/>
  <Override PartName="/ppt/charts/colors16.xml" ContentType="application/vnd.ms-office.chartcolorstyle+xml"/>
  <Override PartName="/ppt/charts/colors17.xml" ContentType="application/vnd.ms-office.chartcolorstyle+xml"/>
  <Override PartName="/ppt/charts/colors18.xml" ContentType="application/vnd.ms-office.chartcolorstyle+xml"/>
  <Override PartName="/ppt/charts/colors19.xml" ContentType="application/vnd.ms-office.chartcolorstyle+xml"/>
  <Override PartName="/ppt/charts/colors2.xml" ContentType="application/vnd.ms-office.chartcolorstyle+xml"/>
  <Override PartName="/ppt/charts/colors20.xml" ContentType="application/vnd.ms-office.chartcolorstyle+xml"/>
  <Override PartName="/ppt/charts/colors21.xml" ContentType="application/vnd.ms-office.chartcolorstyle+xml"/>
  <Override PartName="/ppt/charts/colors22.xml" ContentType="application/vnd.ms-office.chartcolorstyle+xml"/>
  <Override PartName="/ppt/charts/colors23.xml" ContentType="application/vnd.ms-office.chartcolorstyle+xml"/>
  <Override PartName="/ppt/charts/colors24.xml" ContentType="application/vnd.ms-office.chartcolorstyle+xml"/>
  <Override PartName="/ppt/charts/colors25.xml" ContentType="application/vnd.ms-office.chartcolorstyle+xml"/>
  <Override PartName="/ppt/charts/colors26.xml" ContentType="application/vnd.ms-office.chartcolorstyle+xml"/>
  <Override PartName="/ppt/charts/colors27.xml" ContentType="application/vnd.ms-office.chartcolorstyle+xml"/>
  <Override PartName="/ppt/charts/colors28.xml" ContentType="application/vnd.ms-office.chartcolorstyle+xml"/>
  <Override PartName="/ppt/charts/colors29.xml" ContentType="application/vnd.ms-office.chartcolorstyle+xml"/>
  <Override PartName="/ppt/charts/colors3.xml" ContentType="application/vnd.ms-office.chartcolorstyle+xml"/>
  <Override PartName="/ppt/charts/colors30.xml" ContentType="application/vnd.ms-office.chartcolorstyle+xml"/>
  <Override PartName="/ppt/charts/colors31.xml" ContentType="application/vnd.ms-office.chartcolorstyle+xml"/>
  <Override PartName="/ppt/charts/colors32.xml" ContentType="application/vnd.ms-office.chartcolorstyle+xml"/>
  <Override PartName="/ppt/charts/colors33.xml" ContentType="application/vnd.ms-office.chartcolorstyle+xml"/>
  <Override PartName="/ppt/charts/colors34.xml" ContentType="application/vnd.ms-office.chartcolorstyle+xml"/>
  <Override PartName="/ppt/charts/colors35.xml" ContentType="application/vnd.ms-office.chartcolorstyle+xml"/>
  <Override PartName="/ppt/charts/colors36.xml" ContentType="application/vnd.ms-office.chartcolorstyle+xml"/>
  <Override PartName="/ppt/charts/colors37.xml" ContentType="application/vnd.ms-office.chartcolorstyle+xml"/>
  <Override PartName="/ppt/charts/colors38.xml" ContentType="application/vnd.ms-office.chartcolorstyle+xml"/>
  <Override PartName="/ppt/charts/colors39.xml" ContentType="application/vnd.ms-office.chartcolorstyle+xml"/>
  <Override PartName="/ppt/charts/colors4.xml" ContentType="application/vnd.ms-office.chartcolorstyle+xml"/>
  <Override PartName="/ppt/charts/colors40.xml" ContentType="application/vnd.ms-office.chartcolorstyle+xml"/>
  <Override PartName="/ppt/charts/colors41.xml" ContentType="application/vnd.ms-office.chartcolorstyle+xml"/>
  <Override PartName="/ppt/charts/colors42.xml" ContentType="application/vnd.ms-office.chartcolorstyle+xml"/>
  <Override PartName="/ppt/charts/colors43.xml" ContentType="application/vnd.ms-office.chartcolorstyle+xml"/>
  <Override PartName="/ppt/charts/colors44.xml" ContentType="application/vnd.ms-office.chartcolorstyle+xml"/>
  <Override PartName="/ppt/charts/colors45.xml" ContentType="application/vnd.ms-office.chartcolorstyle+xml"/>
  <Override PartName="/ppt/charts/colors46.xml" ContentType="application/vnd.ms-office.chartcolorstyle+xml"/>
  <Override PartName="/ppt/charts/colors47.xml" ContentType="application/vnd.ms-office.chartcolorstyle+xml"/>
  <Override PartName="/ppt/charts/colors48.xml" ContentType="application/vnd.ms-office.chartcolorstyle+xml"/>
  <Override PartName="/ppt/charts/colors49.xml" ContentType="application/vnd.ms-office.chartcolorstyle+xml"/>
  <Override PartName="/ppt/charts/colors5.xml" ContentType="application/vnd.ms-office.chartcolorstyle+xml"/>
  <Override PartName="/ppt/charts/colors50.xml" ContentType="application/vnd.ms-office.chartcolorstyle+xml"/>
  <Override PartName="/ppt/charts/colors51.xml" ContentType="application/vnd.ms-office.chartcolorstyle+xml"/>
  <Override PartName="/ppt/charts/colors52.xml" ContentType="application/vnd.ms-office.chartcolorstyle+xml"/>
  <Override PartName="/ppt/charts/colors53.xml" ContentType="application/vnd.ms-office.chartcolorstyle+xml"/>
  <Override PartName="/ppt/charts/colors54.xml" ContentType="application/vnd.ms-office.chartcolorstyle+xml"/>
  <Override PartName="/ppt/charts/colors55.xml" ContentType="application/vnd.ms-office.chartcolorstyle+xml"/>
  <Override PartName="/ppt/charts/colors56.xml" ContentType="application/vnd.ms-office.chartcolorstyle+xml"/>
  <Override PartName="/ppt/charts/colors57.xml" ContentType="application/vnd.ms-office.chartcolorstyle+xml"/>
  <Override PartName="/ppt/charts/colors58.xml" ContentType="application/vnd.ms-office.chartcolorstyle+xml"/>
  <Override PartName="/ppt/charts/colors59.xml" ContentType="application/vnd.ms-office.chartcolorstyle+xml"/>
  <Override PartName="/ppt/charts/colors6.xml" ContentType="application/vnd.ms-office.chartcolorstyle+xml"/>
  <Override PartName="/ppt/charts/colors60.xml" ContentType="application/vnd.ms-office.chartcolorstyle+xml"/>
  <Override PartName="/ppt/charts/colors61.xml" ContentType="application/vnd.ms-office.chartcolorstyle+xml"/>
  <Override PartName="/ppt/charts/colors62.xml" ContentType="application/vnd.ms-office.chartcolorstyle+xml"/>
  <Override PartName="/ppt/charts/colors63.xml" ContentType="application/vnd.ms-office.chartcolorstyle+xml"/>
  <Override PartName="/ppt/charts/colors64.xml" ContentType="application/vnd.ms-office.chartcolorstyle+xml"/>
  <Override PartName="/ppt/charts/colors65.xml" ContentType="application/vnd.ms-office.chartcolorstyle+xml"/>
  <Override PartName="/ppt/charts/colors66.xml" ContentType="application/vnd.ms-office.chartcolorstyle+xml"/>
  <Override PartName="/ppt/charts/colors67.xml" ContentType="application/vnd.ms-office.chartcolorstyle+xml"/>
  <Override PartName="/ppt/charts/colors68.xml" ContentType="application/vnd.ms-office.chartcolorstyle+xml"/>
  <Override PartName="/ppt/charts/colors69.xml" ContentType="application/vnd.ms-office.chartcolorstyle+xml"/>
  <Override PartName="/ppt/charts/colors7.xml" ContentType="application/vnd.ms-office.chartcolorstyle+xml"/>
  <Override PartName="/ppt/charts/colors70.xml" ContentType="application/vnd.ms-office.chartcolorstyle+xml"/>
  <Override PartName="/ppt/charts/colors71.xml" ContentType="application/vnd.ms-office.chartcolorstyle+xml"/>
  <Override PartName="/ppt/charts/colors72.xml" ContentType="application/vnd.ms-office.chartcolorstyle+xml"/>
  <Override PartName="/ppt/charts/colors73.xml" ContentType="application/vnd.ms-office.chartcolorstyle+xml"/>
  <Override PartName="/ppt/charts/colors74.xml" ContentType="application/vnd.ms-office.chartcolorstyle+xml"/>
  <Override PartName="/ppt/charts/colors75.xml" ContentType="application/vnd.ms-office.chartcolorstyle+xml"/>
  <Override PartName="/ppt/charts/colors76.xml" ContentType="application/vnd.ms-office.chartcolorstyle+xml"/>
  <Override PartName="/ppt/charts/colors77.xml" ContentType="application/vnd.ms-office.chartcolorstyle+xml"/>
  <Override PartName="/ppt/charts/colors78.xml" ContentType="application/vnd.ms-office.chartcolorstyle+xml"/>
  <Override PartName="/ppt/charts/colors79.xml" ContentType="application/vnd.ms-office.chartcolorstyle+xml"/>
  <Override PartName="/ppt/charts/colors8.xml" ContentType="application/vnd.ms-office.chartcolorstyle+xml"/>
  <Override PartName="/ppt/charts/colors80.xml" ContentType="application/vnd.ms-office.chartcolorstyle+xml"/>
  <Override PartName="/ppt/charts/colors81.xml" ContentType="application/vnd.ms-office.chartcolorstyle+xml"/>
  <Override PartName="/ppt/charts/colors82.xml" ContentType="application/vnd.ms-office.chartcolorstyle+xml"/>
  <Override PartName="/ppt/charts/colors9.xml" ContentType="application/vnd.ms-office.chartcolorstyle+xml"/>
  <Override PartName="/ppt/charts/style1.xml" ContentType="application/vnd.ms-office.chartstyle+xml"/>
  <Override PartName="/ppt/charts/style10.xml" ContentType="application/vnd.ms-office.chartstyle+xml"/>
  <Override PartName="/ppt/charts/style11.xml" ContentType="application/vnd.ms-office.chartstyle+xml"/>
  <Override PartName="/ppt/charts/style12.xml" ContentType="application/vnd.ms-office.chartstyle+xml"/>
  <Override PartName="/ppt/charts/style13.xml" ContentType="application/vnd.ms-office.chartstyle+xml"/>
  <Override PartName="/ppt/charts/style14.xml" ContentType="application/vnd.ms-office.chartstyle+xml"/>
  <Override PartName="/ppt/charts/style15.xml" ContentType="application/vnd.ms-office.chartstyle+xml"/>
  <Override PartName="/ppt/charts/style16.xml" ContentType="application/vnd.ms-office.chartstyle+xml"/>
  <Override PartName="/ppt/charts/style17.xml" ContentType="application/vnd.ms-office.chartstyle+xml"/>
  <Override PartName="/ppt/charts/style18.xml" ContentType="application/vnd.ms-office.chartstyle+xml"/>
  <Override PartName="/ppt/charts/style19.xml" ContentType="application/vnd.ms-office.chartstyle+xml"/>
  <Override PartName="/ppt/charts/style2.xml" ContentType="application/vnd.ms-office.chartstyle+xml"/>
  <Override PartName="/ppt/charts/style20.xml" ContentType="application/vnd.ms-office.chartstyle+xml"/>
  <Override PartName="/ppt/charts/style21.xml" ContentType="application/vnd.ms-office.chartstyle+xml"/>
  <Override PartName="/ppt/charts/style22.xml" ContentType="application/vnd.ms-office.chartstyle+xml"/>
  <Override PartName="/ppt/charts/style23.xml" ContentType="application/vnd.ms-office.chartstyle+xml"/>
  <Override PartName="/ppt/charts/style24.xml" ContentType="application/vnd.ms-office.chartstyle+xml"/>
  <Override PartName="/ppt/charts/style25.xml" ContentType="application/vnd.ms-office.chartstyle+xml"/>
  <Override PartName="/ppt/charts/style26.xml" ContentType="application/vnd.ms-office.chartstyle+xml"/>
  <Override PartName="/ppt/charts/style27.xml" ContentType="application/vnd.ms-office.chartstyle+xml"/>
  <Override PartName="/ppt/charts/style28.xml" ContentType="application/vnd.ms-office.chartstyle+xml"/>
  <Override PartName="/ppt/charts/style29.xml" ContentType="application/vnd.ms-office.chartstyle+xml"/>
  <Override PartName="/ppt/charts/style3.xml" ContentType="application/vnd.ms-office.chartstyle+xml"/>
  <Override PartName="/ppt/charts/style30.xml" ContentType="application/vnd.ms-office.chartstyle+xml"/>
  <Override PartName="/ppt/charts/style31.xml" ContentType="application/vnd.ms-office.chartstyle+xml"/>
  <Override PartName="/ppt/charts/style32.xml" ContentType="application/vnd.ms-office.chartstyle+xml"/>
  <Override PartName="/ppt/charts/style33.xml" ContentType="application/vnd.ms-office.chartstyle+xml"/>
  <Override PartName="/ppt/charts/style34.xml" ContentType="application/vnd.ms-office.chartstyle+xml"/>
  <Override PartName="/ppt/charts/style35.xml" ContentType="application/vnd.ms-office.chartstyle+xml"/>
  <Override PartName="/ppt/charts/style36.xml" ContentType="application/vnd.ms-office.chartstyle+xml"/>
  <Override PartName="/ppt/charts/style37.xml" ContentType="application/vnd.ms-office.chartstyle+xml"/>
  <Override PartName="/ppt/charts/style38.xml" ContentType="application/vnd.ms-office.chartstyle+xml"/>
  <Override PartName="/ppt/charts/style39.xml" ContentType="application/vnd.ms-office.chartstyle+xml"/>
  <Override PartName="/ppt/charts/style4.xml" ContentType="application/vnd.ms-office.chartstyle+xml"/>
  <Override PartName="/ppt/charts/style40.xml" ContentType="application/vnd.ms-office.chartstyle+xml"/>
  <Override PartName="/ppt/charts/style41.xml" ContentType="application/vnd.ms-office.chartstyle+xml"/>
  <Override PartName="/ppt/charts/style42.xml" ContentType="application/vnd.ms-office.chartstyle+xml"/>
  <Override PartName="/ppt/charts/style43.xml" ContentType="application/vnd.ms-office.chartstyle+xml"/>
  <Override PartName="/ppt/charts/style44.xml" ContentType="application/vnd.ms-office.chartstyle+xml"/>
  <Override PartName="/ppt/charts/style45.xml" ContentType="application/vnd.ms-office.chartstyle+xml"/>
  <Override PartName="/ppt/charts/style46.xml" ContentType="application/vnd.ms-office.chartstyle+xml"/>
  <Override PartName="/ppt/charts/style47.xml" ContentType="application/vnd.ms-office.chartstyle+xml"/>
  <Override PartName="/ppt/charts/style48.xml" ContentType="application/vnd.ms-office.chartstyle+xml"/>
  <Override PartName="/ppt/charts/style49.xml" ContentType="application/vnd.ms-office.chartstyle+xml"/>
  <Override PartName="/ppt/charts/style5.xml" ContentType="application/vnd.ms-office.chartstyle+xml"/>
  <Override PartName="/ppt/charts/style50.xml" ContentType="application/vnd.ms-office.chartstyle+xml"/>
  <Override PartName="/ppt/charts/style51.xml" ContentType="application/vnd.ms-office.chartstyle+xml"/>
  <Override PartName="/ppt/charts/style52.xml" ContentType="application/vnd.ms-office.chartstyle+xml"/>
  <Override PartName="/ppt/charts/style53.xml" ContentType="application/vnd.ms-office.chartstyle+xml"/>
  <Override PartName="/ppt/charts/style54.xml" ContentType="application/vnd.ms-office.chartstyle+xml"/>
  <Override PartName="/ppt/charts/style55.xml" ContentType="application/vnd.ms-office.chartstyle+xml"/>
  <Override PartName="/ppt/charts/style56.xml" ContentType="application/vnd.ms-office.chartstyle+xml"/>
  <Override PartName="/ppt/charts/style57.xml" ContentType="application/vnd.ms-office.chartstyle+xml"/>
  <Override PartName="/ppt/charts/style58.xml" ContentType="application/vnd.ms-office.chartstyle+xml"/>
  <Override PartName="/ppt/charts/style59.xml" ContentType="application/vnd.ms-office.chartstyle+xml"/>
  <Override PartName="/ppt/charts/style6.xml" ContentType="application/vnd.ms-office.chartstyle+xml"/>
  <Override PartName="/ppt/charts/style60.xml" ContentType="application/vnd.ms-office.chartstyle+xml"/>
  <Override PartName="/ppt/charts/style61.xml" ContentType="application/vnd.ms-office.chartstyle+xml"/>
  <Override PartName="/ppt/charts/style62.xml" ContentType="application/vnd.ms-office.chartstyle+xml"/>
  <Override PartName="/ppt/charts/style63.xml" ContentType="application/vnd.ms-office.chartstyle+xml"/>
  <Override PartName="/ppt/charts/style64.xml" ContentType="application/vnd.ms-office.chartstyle+xml"/>
  <Override PartName="/ppt/charts/style65.xml" ContentType="application/vnd.ms-office.chartstyle+xml"/>
  <Override PartName="/ppt/charts/style66.xml" ContentType="application/vnd.ms-office.chartstyle+xml"/>
  <Override PartName="/ppt/charts/style67.xml" ContentType="application/vnd.ms-office.chartstyle+xml"/>
  <Override PartName="/ppt/charts/style68.xml" ContentType="application/vnd.ms-office.chartstyle+xml"/>
  <Override PartName="/ppt/charts/style69.xml" ContentType="application/vnd.ms-office.chartstyle+xml"/>
  <Override PartName="/ppt/charts/style7.xml" ContentType="application/vnd.ms-office.chartstyle+xml"/>
  <Override PartName="/ppt/charts/style70.xml" ContentType="application/vnd.ms-office.chartstyle+xml"/>
  <Override PartName="/ppt/charts/style71.xml" ContentType="application/vnd.ms-office.chartstyle+xml"/>
  <Override PartName="/ppt/charts/style72.xml" ContentType="application/vnd.ms-office.chartstyle+xml"/>
  <Override PartName="/ppt/charts/style73.xml" ContentType="application/vnd.ms-office.chartstyle+xml"/>
  <Override PartName="/ppt/charts/style74.xml" ContentType="application/vnd.ms-office.chartstyle+xml"/>
  <Override PartName="/ppt/charts/style75.xml" ContentType="application/vnd.ms-office.chartstyle+xml"/>
  <Override PartName="/ppt/charts/style76.xml" ContentType="application/vnd.ms-office.chartstyle+xml"/>
  <Override PartName="/ppt/charts/style77.xml" ContentType="application/vnd.ms-office.chartstyle+xml"/>
  <Override PartName="/ppt/charts/style78.xml" ContentType="application/vnd.ms-office.chartstyle+xml"/>
  <Override PartName="/ppt/charts/style79.xml" ContentType="application/vnd.ms-office.chartstyle+xml"/>
  <Override PartName="/ppt/charts/style8.xml" ContentType="application/vnd.ms-office.chartstyle+xml"/>
  <Override PartName="/ppt/charts/style80.xml" ContentType="application/vnd.ms-office.chartstyle+xml"/>
  <Override PartName="/ppt/charts/style81.xml" ContentType="application/vnd.ms-office.chartstyle+xml"/>
  <Override PartName="/ppt/charts/style82.xml" ContentType="application/vnd.ms-office.chartstyle+xml"/>
  <Override PartName="/ppt/charts/style9.xml" ContentType="application/vnd.ms-office.chartstyle+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28.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107"/>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 id="2147477395" r:id="rId35"/>
    <p:sldId id="2147477396" r:id="rId36"/>
    <p:sldId id="2147477397" r:id="rId37"/>
    <p:sldId id="2147477398" r:id="rId38"/>
    <p:sldId id="2147477399" r:id="rId39"/>
    <p:sldId id="2147477400" r:id="rId40"/>
    <p:sldId id="2147477401" r:id="rId41"/>
    <p:sldId id="2147477402" r:id="rId42"/>
    <p:sldId id="2147477403" r:id="rId43"/>
    <p:sldId id="2147477404" r:id="rId44"/>
    <p:sldId id="2147477405" r:id="rId45"/>
    <p:sldId id="2147477406" r:id="rId46"/>
    <p:sldId id="2147477407" r:id="rId47"/>
    <p:sldId id="2147477408" r:id="rId48"/>
    <p:sldId id="2147477409" r:id="rId49"/>
    <p:sldId id="2147477410" r:id="rId50"/>
    <p:sldId id="2147477411" r:id="rId51"/>
    <p:sldId id="2147477412" r:id="rId52"/>
    <p:sldId id="2147477413" r:id="rId53"/>
    <p:sldId id="2147477414" r:id="rId54"/>
    <p:sldId id="2147477415" r:id="rId55"/>
    <p:sldId id="2147477416" r:id="rId56"/>
    <p:sldId id="2147477417" r:id="rId57"/>
    <p:sldId id="2147477418" r:id="rId58"/>
    <p:sldId id="2147477419" r:id="rId59"/>
    <p:sldId id="2147477420" r:id="rId60"/>
    <p:sldId id="2147477421" r:id="rId61"/>
    <p:sldId id="2147477422" r:id="rId62"/>
    <p:sldId id="2147477423" r:id="rId63"/>
    <p:sldId id="2147477424" r:id="rId64"/>
    <p:sldId id="2147477425" r:id="rId65"/>
    <p:sldId id="2147477426" r:id="rId66"/>
    <p:sldId id="2147477427" r:id="rId67"/>
    <p:sldId id="2147477428" r:id="rId68"/>
    <p:sldId id="2147477429" r:id="rId69"/>
    <p:sldId id="2147477430" r:id="rId70"/>
    <p:sldId id="2147477431" r:id="rId71"/>
    <p:sldId id="2147477432" r:id="rId72"/>
    <p:sldId id="2147477433" r:id="rId73"/>
    <p:sldId id="2147477434" r:id="rId74"/>
    <p:sldId id="2147477435" r:id="rId75"/>
    <p:sldId id="2147477436" r:id="rId76"/>
    <p:sldId id="2147477437" r:id="rId77"/>
    <p:sldId id="2147477438" r:id="rId78"/>
    <p:sldId id="2147477439" r:id="rId79"/>
    <p:sldId id="2147477440" r:id="rId80"/>
    <p:sldId id="2147477441" r:id="rId81"/>
    <p:sldId id="2147477442" r:id="rId82"/>
    <p:sldId id="2147477443" r:id="rId83"/>
    <p:sldId id="2147477444" r:id="rId84"/>
    <p:sldId id="2147477445" r:id="rId85"/>
    <p:sldId id="2147477446" r:id="rId86"/>
    <p:sldId id="2147477447" r:id="rId87"/>
    <p:sldId id="2147477448" r:id="rId88"/>
    <p:sldId id="2147477449" r:id="rId89"/>
    <p:sldId id="2147477450" r:id="rId90"/>
    <p:sldId id="2147477451" r:id="rId91"/>
    <p:sldId id="2147477452" r:id="rId92"/>
    <p:sldId id="2147477453" r:id="rId93"/>
    <p:sldId id="2147477454" r:id="rId94"/>
    <p:sldId id="2147477455" r:id="rId95"/>
    <p:sldId id="2147477456" r:id="rId96"/>
    <p:sldId id="2147477457" r:id="rId97"/>
    <p:sldId id="2147477458" r:id="rId98"/>
    <p:sldId id="2147477459" r:id="rId99"/>
    <p:sldId id="2147477460" r:id="rId100"/>
    <p:sldId id="2147477461" r:id="rId101"/>
    <p:sldId id="2147477462" r:id="rId102"/>
    <p:sldId id="2147477463" r:id="rId103"/>
    <p:sldId id="2147477464" r:id="rId104"/>
    <p:sldId id="2147477465" r:id="rId105"/>
    <p:sldId id="2147477466" r:id="rId106"/>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Category Price Point Distribution Analysis P3M" id="{0DBB0DB9-5C1A-424D-9212-AE2184069955}">
          <p14:sldIdLst>
            <p14:sldId id="2147477365"/>
            <p14:sldId id="2147477366"/>
            <p14:sldId id="2147477367"/>
            <p14:sldId id="2147477368"/>
            <p14:sldId id="2147477369"/>
          </p14:sldIdLst>
        </p14:section>
        <p14:section name="Category Price Point Distribution Analysis P12M" id="{A3170E14-C0AD-47E8-AA03-96302D667AC0}">
          <p14:sldIdLst>
            <p14:sldId id="2147477370"/>
            <p14:sldId id="2147477371"/>
            <p14:sldId id="2147477372"/>
            <p14:sldId id="2147477373"/>
            <p14:sldId id="2147477374"/>
          </p14:sldIdLst>
        </p14:section>
        <p14:section name="Sector Price Point Distribution Analysis P3M" id="{BA64E2B5-C5A0-44D6-ADBD-7120093787F0}">
          <p14:sldIdLst>
            <p14:sldId id="2147477375"/>
            <p14:sldId id="2147477376"/>
            <p14:sldId id="2147477377"/>
            <p14:sldId id="2147477378"/>
            <p14:sldId id="2147477379"/>
            <p14:sldId id="2147477380"/>
            <p14:sldId id="2147477381"/>
          </p14:sldIdLst>
        </p14:section>
        <p14:section name="Sector Price Point Distribution Analysis P12M" id="{E2B058E0-AF77-4520-861F-A922E12C42E1}">
          <p14:sldIdLst>
            <p14:sldId id="2147477382"/>
            <p14:sldId id="2147477383"/>
            <p14:sldId id="2147477384"/>
            <p14:sldId id="2147477385"/>
            <p14:sldId id="2147477386"/>
            <p14:sldId id="2147477387"/>
            <p14:sldId id="2147477388"/>
          </p14:sldIdLst>
        </p14:section>
        <p14:section name="Category Price Point Distribution Analysis P3M ByManuf" id="{0A2CC4D4-7742-4DE5-AC0B-E84BE30D674D}">
          <p14:sldIdLst>
            <p14:sldId id="2147477389"/>
            <p14:sldId id="2147477390"/>
            <p14:sldId id="2147477391"/>
          </p14:sldIdLst>
        </p14:section>
        <p14:section name="Category Price Point Distribution Analysis P12M ByManuf" id="{6EC5A767-F5DE-4F5F-A0D2-310EDF36E2C1}">
          <p14:sldIdLst>
            <p14:sldId id="2147477392"/>
            <p14:sldId id="2147477393"/>
            <p14:sldId id="2147477394"/>
          </p14:sldIdLst>
        </p14:section>
        <p14:section name="Sector Price Point Distribution Analysis P3M ByManuf" id="{6C0A9F61-645D-48E9-BDAB-E677A915C14B}">
          <p14:sldIdLst>
            <p14:sldId id="2147477395"/>
            <p14:sldId id="2147477396"/>
            <p14:sldId id="2147477397"/>
            <p14:sldId id="2147477398"/>
            <p14:sldId id="2147477399"/>
          </p14:sldIdLst>
        </p14:section>
        <p14:section name="Sector Price Point Distribution Analysis P12M ByManuf" id="{5E978606-3EBD-48BD-8C82-902EEFC47D27}">
          <p14:sldIdLst>
            <p14:sldId id="2147477400"/>
            <p14:sldId id="2147477401"/>
            <p14:sldId id="2147477402"/>
            <p14:sldId id="2147477403"/>
            <p14:sldId id="2147477404"/>
          </p14:sldIdLst>
        </p14:section>
        <p14:section name="Price Point Comparison Analysis by Manuf" id="{DD089BFB-E9FB-48C2-AEFA-17354A8A6D4C}">
          <p14:sldIdLst>
            <p14:sldId id="2147477405"/>
            <p14:sldId id="2147477406"/>
            <p14:sldId id="2147477407"/>
            <p14:sldId id="2147477408"/>
            <p14:sldId id="2147477409"/>
            <p14:sldId id="2147477410"/>
            <p14:sldId id="2147477411"/>
            <p14:sldId id="2147477412"/>
            <p14:sldId id="2147477413"/>
            <p14:sldId id="2147477414"/>
            <p14:sldId id="2147477415"/>
            <p14:sldId id="2147477416"/>
          </p14:sldIdLst>
        </p14:section>
        <p14:section name="Price Point Comparison Analysis by Product" id="{D8638471-4877-47E8-95DB-38F00B7AA09A}">
          <p14:sldIdLst>
            <p14:sldId id="2147477417"/>
            <p14:sldId id="2147477418"/>
            <p14:sldId id="2147477419"/>
            <p14:sldId id="2147477420"/>
            <p14:sldId id="2147477421"/>
            <p14:sldId id="2147477422"/>
            <p14:sldId id="2147477423"/>
            <p14:sldId id="2147477424"/>
            <p14:sldId id="2147477425"/>
            <p14:sldId id="2147477426"/>
            <p14:sldId id="2147477427"/>
            <p14:sldId id="2147477428"/>
            <p14:sldId id="2147477429"/>
            <p14:sldId id="2147477430"/>
            <p14:sldId id="2147477431"/>
            <p14:sldId id="2147477432"/>
            <p14:sldId id="2147477433"/>
            <p14:sldId id="2147477434"/>
            <p14:sldId id="2147477435"/>
            <p14:sldId id="2147477436"/>
            <p14:sldId id="2147477437"/>
            <p14:sldId id="2147477438"/>
            <p14:sldId id="2147477439"/>
            <p14:sldId id="2147477440"/>
            <p14:sldId id="2147477441"/>
            <p14:sldId id="2147477442"/>
            <p14:sldId id="2147477443"/>
            <p14:sldId id="2147477444"/>
            <p14:sldId id="2147477445"/>
            <p14:sldId id="2147477446"/>
          </p14:sldIdLst>
        </p14:section>
        <p14:section name="Price Point Distribution Analysis By Brand" id="{C0E0E01B-39B1-4096-B64B-C62942BD6F6F}">
          <p14:sldIdLst>
            <p14:sldId id="2147477447"/>
            <p14:sldId id="2147477448"/>
            <p14:sldId id="2147477449"/>
            <p14:sldId id="2147477450"/>
            <p14:sldId id="2147477451"/>
            <p14:sldId id="2147477452"/>
            <p14:sldId id="2147477453"/>
            <p14:sldId id="2147477454"/>
            <p14:sldId id="2147477455"/>
            <p14:sldId id="2147477456"/>
            <p14:sldId id="2147477457"/>
          </p14:sldIdLst>
        </p14:section>
        <p14:section name="Price Point Distribution By Brand By Sector" id="{D8FCCA99-640E-40F0-8CE9-C5A7C5011984}">
          <p14:sldIdLst>
            <p14:sldId id="2147477458"/>
            <p14:sldId id="2147477459"/>
            <p14:sldId id="2147477460"/>
          </p14:sldIdLst>
        </p14:section>
        <p14:section name="Price Point Distribution By Brand By Segment" id="{17E3D2A0-A48C-4B05-BF34-FDE0BD5EA9DC}">
          <p14:sldIdLst>
            <p14:sldId id="2147477461"/>
            <p14:sldId id="2147477462"/>
            <p14:sldId id="2147477463"/>
            <p14:sldId id="2147477464"/>
            <p14:sldId id="2147477465"/>
            <p14:sldId id="2147477466"/>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AEABAB"/>
    <a:srgbClr val="BCBBBB"/>
    <a:srgbClr val="7ECAC4"/>
    <a:srgbClr val="CFCECE"/>
    <a:srgbClr val="575555"/>
    <a:srgbClr val="999B9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3" d="100"/>
          <a:sy n="103" d="100"/>
        </p:scale>
        <p:origin x="874" y="77"/>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50" Type="http://schemas.openxmlformats.org/officeDocument/2006/relationships/slide" Target="slides/slide46.xml"/><Relationship Id="rId51" Type="http://schemas.openxmlformats.org/officeDocument/2006/relationships/slide" Target="slides/slide47.xml"/><Relationship Id="rId52" Type="http://schemas.openxmlformats.org/officeDocument/2006/relationships/slide" Target="slides/slide48.xml"/><Relationship Id="rId53" Type="http://schemas.openxmlformats.org/officeDocument/2006/relationships/slide" Target="slides/slide49.xml"/><Relationship Id="rId54" Type="http://schemas.openxmlformats.org/officeDocument/2006/relationships/slide" Target="slides/slide50.xml"/><Relationship Id="rId55" Type="http://schemas.openxmlformats.org/officeDocument/2006/relationships/slide" Target="slides/slide51.xml"/><Relationship Id="rId56" Type="http://schemas.openxmlformats.org/officeDocument/2006/relationships/slide" Target="slides/slide52.xml"/><Relationship Id="rId57" Type="http://schemas.openxmlformats.org/officeDocument/2006/relationships/slide" Target="slides/slide53.xml"/><Relationship Id="rId58" Type="http://schemas.openxmlformats.org/officeDocument/2006/relationships/slide" Target="slides/slide54.xml"/><Relationship Id="rId59" Type="http://schemas.openxmlformats.org/officeDocument/2006/relationships/slide" Target="slides/slide55.xml"/><Relationship Id="rId60" Type="http://schemas.openxmlformats.org/officeDocument/2006/relationships/slide" Target="slides/slide56.xml"/><Relationship Id="rId61" Type="http://schemas.openxmlformats.org/officeDocument/2006/relationships/slide" Target="slides/slide57.xml"/><Relationship Id="rId62" Type="http://schemas.openxmlformats.org/officeDocument/2006/relationships/slide" Target="slides/slide58.xml"/><Relationship Id="rId63" Type="http://schemas.openxmlformats.org/officeDocument/2006/relationships/slide" Target="slides/slide59.xml"/><Relationship Id="rId64" Type="http://schemas.openxmlformats.org/officeDocument/2006/relationships/slide" Target="slides/slide60.xml"/><Relationship Id="rId65" Type="http://schemas.openxmlformats.org/officeDocument/2006/relationships/slide" Target="slides/slide61.xml"/><Relationship Id="rId66" Type="http://schemas.openxmlformats.org/officeDocument/2006/relationships/slide" Target="slides/slide62.xml"/><Relationship Id="rId67" Type="http://schemas.openxmlformats.org/officeDocument/2006/relationships/slide" Target="slides/slide63.xml"/><Relationship Id="rId68" Type="http://schemas.openxmlformats.org/officeDocument/2006/relationships/slide" Target="slides/slide64.xml"/><Relationship Id="rId69" Type="http://schemas.openxmlformats.org/officeDocument/2006/relationships/slide" Target="slides/slide65.xml"/><Relationship Id="rId70" Type="http://schemas.openxmlformats.org/officeDocument/2006/relationships/slide" Target="slides/slide66.xml"/><Relationship Id="rId71" Type="http://schemas.openxmlformats.org/officeDocument/2006/relationships/slide" Target="slides/slide67.xml"/><Relationship Id="rId72" Type="http://schemas.openxmlformats.org/officeDocument/2006/relationships/slide" Target="slides/slide68.xml"/><Relationship Id="rId73" Type="http://schemas.openxmlformats.org/officeDocument/2006/relationships/slide" Target="slides/slide69.xml"/><Relationship Id="rId74" Type="http://schemas.openxmlformats.org/officeDocument/2006/relationships/slide" Target="slides/slide70.xml"/><Relationship Id="rId75" Type="http://schemas.openxmlformats.org/officeDocument/2006/relationships/slide" Target="slides/slide71.xml"/><Relationship Id="rId76" Type="http://schemas.openxmlformats.org/officeDocument/2006/relationships/slide" Target="slides/slide72.xml"/><Relationship Id="rId77" Type="http://schemas.openxmlformats.org/officeDocument/2006/relationships/slide" Target="slides/slide73.xml"/><Relationship Id="rId78" Type="http://schemas.openxmlformats.org/officeDocument/2006/relationships/slide" Target="slides/slide74.xml"/><Relationship Id="rId79" Type="http://schemas.openxmlformats.org/officeDocument/2006/relationships/slide" Target="slides/slide75.xml"/><Relationship Id="rId80" Type="http://schemas.openxmlformats.org/officeDocument/2006/relationships/slide" Target="slides/slide76.xml"/><Relationship Id="rId81" Type="http://schemas.openxmlformats.org/officeDocument/2006/relationships/slide" Target="slides/slide77.xml"/><Relationship Id="rId82" Type="http://schemas.openxmlformats.org/officeDocument/2006/relationships/slide" Target="slides/slide78.xml"/><Relationship Id="rId83" Type="http://schemas.openxmlformats.org/officeDocument/2006/relationships/slide" Target="slides/slide79.xml"/><Relationship Id="rId84" Type="http://schemas.openxmlformats.org/officeDocument/2006/relationships/slide" Target="slides/slide80.xml"/><Relationship Id="rId85" Type="http://schemas.openxmlformats.org/officeDocument/2006/relationships/slide" Target="slides/slide81.xml"/><Relationship Id="rId86" Type="http://schemas.openxmlformats.org/officeDocument/2006/relationships/slide" Target="slides/slide82.xml"/><Relationship Id="rId87" Type="http://schemas.openxmlformats.org/officeDocument/2006/relationships/slide" Target="slides/slide83.xml"/><Relationship Id="rId88" Type="http://schemas.openxmlformats.org/officeDocument/2006/relationships/slide" Target="slides/slide84.xml"/><Relationship Id="rId89" Type="http://schemas.openxmlformats.org/officeDocument/2006/relationships/slide" Target="slides/slide85.xml"/><Relationship Id="rId90" Type="http://schemas.openxmlformats.org/officeDocument/2006/relationships/slide" Target="slides/slide86.xml"/><Relationship Id="rId91" Type="http://schemas.openxmlformats.org/officeDocument/2006/relationships/slide" Target="slides/slide87.xml"/><Relationship Id="rId92" Type="http://schemas.openxmlformats.org/officeDocument/2006/relationships/slide" Target="slides/slide88.xml"/><Relationship Id="rId93" Type="http://schemas.openxmlformats.org/officeDocument/2006/relationships/slide" Target="slides/slide89.xml"/><Relationship Id="rId94" Type="http://schemas.openxmlformats.org/officeDocument/2006/relationships/slide" Target="slides/slide90.xml"/><Relationship Id="rId95" Type="http://schemas.openxmlformats.org/officeDocument/2006/relationships/slide" Target="slides/slide91.xml"/><Relationship Id="rId96" Type="http://schemas.openxmlformats.org/officeDocument/2006/relationships/slide" Target="slides/slide92.xml"/><Relationship Id="rId97" Type="http://schemas.openxmlformats.org/officeDocument/2006/relationships/slide" Target="slides/slide93.xml"/><Relationship Id="rId98" Type="http://schemas.openxmlformats.org/officeDocument/2006/relationships/slide" Target="slides/slide94.xml"/><Relationship Id="rId99" Type="http://schemas.openxmlformats.org/officeDocument/2006/relationships/slide" Target="slides/slide95.xml"/><Relationship Id="rId100" Type="http://schemas.openxmlformats.org/officeDocument/2006/relationships/slide" Target="slides/slide96.xml"/><Relationship Id="rId101" Type="http://schemas.openxmlformats.org/officeDocument/2006/relationships/slide" Target="slides/slide97.xml"/><Relationship Id="rId102" Type="http://schemas.openxmlformats.org/officeDocument/2006/relationships/slide" Target="slides/slide98.xml"/><Relationship Id="rId103" Type="http://schemas.openxmlformats.org/officeDocument/2006/relationships/slide" Target="slides/slide99.xml"/><Relationship Id="rId104" Type="http://schemas.openxmlformats.org/officeDocument/2006/relationships/slide" Target="slides/slide100.xml"/><Relationship Id="rId105" Type="http://schemas.openxmlformats.org/officeDocument/2006/relationships/slide" Target="slides/slide101.xml"/><Relationship Id="rId106" Type="http://schemas.openxmlformats.org/officeDocument/2006/relationships/slide" Target="slides/slide102.xml"/><Relationship Id="rId107" Type="http://schemas.openxmlformats.org/officeDocument/2006/relationships/notesMaster" Target="notesMasters/notesMaster1.xml"/><Relationship Id="rId108" Type="http://schemas.openxmlformats.org/officeDocument/2006/relationships/presProps" Target="presProps.xml"/><Relationship Id="rId109" Type="http://schemas.openxmlformats.org/officeDocument/2006/relationships/viewProps" Target="viewProps.xml"/><Relationship Id="rId110" Type="http://schemas.openxmlformats.org/officeDocument/2006/relationships/theme" Target="theme/theme1.xml"/><Relationship Id="rId111" Type="http://schemas.openxmlformats.org/officeDocument/2006/relationships/tableStyles" Target="tableStyles.xml"/><Relationship Id="rId112"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microsoft.com/office/2011/relationships/chartStyle" Target="style1.xml"/><Relationship Id="rId2" Type="http://schemas.microsoft.com/office/2011/relationships/chartColorStyle" Target="colors1.xml"/><Relationship Id="rId3"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microsoft.com/office/2011/relationships/chartStyle" Target="style10.xml"/><Relationship Id="rId2" Type="http://schemas.microsoft.com/office/2011/relationships/chartColorStyle" Target="colors10.xml"/><Relationship Id="rId3"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1.xml.rels><?xml version='1.0' encoding='UTF-8' standalone='yes'?>
<Relationships xmlns="http://schemas.openxmlformats.org/package/2006/relationships"><Relationship Id="rId1" Type="http://schemas.microsoft.com/office/2011/relationships/chartStyle" Target="style11.xml"/><Relationship Id="rId2" Type="http://schemas.microsoft.com/office/2011/relationships/chartColorStyle" Target="colors11.xml"/><Relationship Id="rId3"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microsoft.com/office/2011/relationships/chartStyle" Target="style12.xml"/><Relationship Id="rId2" Type="http://schemas.microsoft.com/office/2011/relationships/chartColorStyle" Target="colors12.xml"/><Relationship Id="rId3"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microsoft.com/office/2011/relationships/chartStyle" Target="style13.xml"/><Relationship Id="rId2" Type="http://schemas.microsoft.com/office/2011/relationships/chartColorStyle" Target="colors13.xml"/><Relationship Id="rId3"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microsoft.com/office/2011/relationships/chartStyle" Target="style14.xml"/><Relationship Id="rId2" Type="http://schemas.microsoft.com/office/2011/relationships/chartColorStyle" Target="colors14.xml"/><Relationship Id="rId3"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microsoft.com/office/2011/relationships/chartStyle" Target="style15.xml"/><Relationship Id="rId2" Type="http://schemas.microsoft.com/office/2011/relationships/chartColorStyle" Target="colors15.xml"/><Relationship Id="rId3"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microsoft.com/office/2011/relationships/chartStyle" Target="style16.xml"/><Relationship Id="rId2" Type="http://schemas.microsoft.com/office/2011/relationships/chartColorStyle" Target="colors16.xml"/><Relationship Id="rId3"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microsoft.com/office/2011/relationships/chartStyle" Target="style17.xml"/><Relationship Id="rId2" Type="http://schemas.microsoft.com/office/2011/relationships/chartColorStyle" Target="colors17.xml"/><Relationship Id="rId3"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microsoft.com/office/2011/relationships/chartStyle" Target="style18.xml"/><Relationship Id="rId2" Type="http://schemas.microsoft.com/office/2011/relationships/chartColorStyle" Target="colors18.xml"/><Relationship Id="rId3"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microsoft.com/office/2011/relationships/chartStyle" Target="style19.xml"/><Relationship Id="rId2" Type="http://schemas.microsoft.com/office/2011/relationships/chartColorStyle" Target="colors19.xml"/><Relationship Id="rId3"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microsoft.com/office/2011/relationships/chartStyle" Target="style2.xml"/><Relationship Id="rId2" Type="http://schemas.microsoft.com/office/2011/relationships/chartColorStyle" Target="colors2.xml"/><Relationship Id="rId3"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microsoft.com/office/2011/relationships/chartStyle" Target="style20.xml"/><Relationship Id="rId2" Type="http://schemas.microsoft.com/office/2011/relationships/chartColorStyle" Target="colors20.xml"/><Relationship Id="rId3"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microsoft.com/office/2011/relationships/chartStyle" Target="style21.xml"/><Relationship Id="rId2" Type="http://schemas.microsoft.com/office/2011/relationships/chartColorStyle" Target="colors21.xml"/><Relationship Id="rId3"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microsoft.com/office/2011/relationships/chartStyle" Target="style22.xml"/><Relationship Id="rId2" Type="http://schemas.microsoft.com/office/2011/relationships/chartColorStyle" Target="colors22.xml"/><Relationship Id="rId3"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microsoft.com/office/2011/relationships/chartStyle" Target="style23.xml"/><Relationship Id="rId2" Type="http://schemas.microsoft.com/office/2011/relationships/chartColorStyle" Target="colors23.xml"/><Relationship Id="rId3"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microsoft.com/office/2011/relationships/chartStyle" Target="style24.xml"/><Relationship Id="rId2" Type="http://schemas.microsoft.com/office/2011/relationships/chartColorStyle" Target="colors24.xml"/><Relationship Id="rId3"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microsoft.com/office/2011/relationships/chartStyle" Target="style25.xml"/><Relationship Id="rId2" Type="http://schemas.microsoft.com/office/2011/relationships/chartColorStyle" Target="colors25.xml"/><Relationship Id="rId3"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microsoft.com/office/2011/relationships/chartStyle" Target="style26.xml"/><Relationship Id="rId2" Type="http://schemas.microsoft.com/office/2011/relationships/chartColorStyle" Target="colors26.xml"/><Relationship Id="rId3"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microsoft.com/office/2011/relationships/chartStyle" Target="style27.xml"/><Relationship Id="rId2" Type="http://schemas.microsoft.com/office/2011/relationships/chartColorStyle" Target="colors27.xml"/><Relationship Id="rId3"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microsoft.com/office/2011/relationships/chartStyle" Target="style28.xml"/><Relationship Id="rId2" Type="http://schemas.microsoft.com/office/2011/relationships/chartColorStyle" Target="colors28.xml"/><Relationship Id="rId3"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microsoft.com/office/2011/relationships/chartStyle" Target="style29.xml"/><Relationship Id="rId2" Type="http://schemas.microsoft.com/office/2011/relationships/chartColorStyle" Target="colors29.xml"/><Relationship Id="rId3"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microsoft.com/office/2011/relationships/chartStyle" Target="style3.xml"/><Relationship Id="rId2" Type="http://schemas.microsoft.com/office/2011/relationships/chartColorStyle" Target="colors3.xml"/><Relationship Id="rId3"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microsoft.com/office/2011/relationships/chartStyle" Target="style30.xml"/><Relationship Id="rId2" Type="http://schemas.microsoft.com/office/2011/relationships/chartColorStyle" Target="colors30.xml"/><Relationship Id="rId3"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microsoft.com/office/2011/relationships/chartStyle" Target="style31.xml"/><Relationship Id="rId2" Type="http://schemas.microsoft.com/office/2011/relationships/chartColorStyle" Target="colors31.xml"/><Relationship Id="rId3"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microsoft.com/office/2011/relationships/chartStyle" Target="style32.xml"/><Relationship Id="rId2" Type="http://schemas.microsoft.com/office/2011/relationships/chartColorStyle" Target="colors32.xml"/><Relationship Id="rId3"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microsoft.com/office/2011/relationships/chartStyle" Target="style33.xml"/><Relationship Id="rId2" Type="http://schemas.microsoft.com/office/2011/relationships/chartColorStyle" Target="colors33.xml"/><Relationship Id="rId3"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microsoft.com/office/2011/relationships/chartStyle" Target="style34.xml"/><Relationship Id="rId2" Type="http://schemas.microsoft.com/office/2011/relationships/chartColorStyle" Target="colors34.xml"/><Relationship Id="rId3"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microsoft.com/office/2011/relationships/chartStyle" Target="style35.xml"/><Relationship Id="rId2" Type="http://schemas.microsoft.com/office/2011/relationships/chartColorStyle" Target="colors35.xml"/><Relationship Id="rId3"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microsoft.com/office/2011/relationships/chartStyle" Target="style36.xml"/><Relationship Id="rId2" Type="http://schemas.microsoft.com/office/2011/relationships/chartColorStyle" Target="colors36.xml"/><Relationship Id="rId3"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microsoft.com/office/2011/relationships/chartStyle" Target="style37.xml"/><Relationship Id="rId2" Type="http://schemas.microsoft.com/office/2011/relationships/chartColorStyle" Target="colors37.xml"/><Relationship Id="rId3"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microsoft.com/office/2011/relationships/chartStyle" Target="style38.xml"/><Relationship Id="rId2" Type="http://schemas.microsoft.com/office/2011/relationships/chartColorStyle" Target="colors38.xml"/><Relationship Id="rId3"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microsoft.com/office/2011/relationships/chartStyle" Target="style39.xml"/><Relationship Id="rId2" Type="http://schemas.microsoft.com/office/2011/relationships/chartColorStyle" Target="colors39.xml"/><Relationship Id="rId3"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microsoft.com/office/2011/relationships/chartStyle" Target="style4.xml"/><Relationship Id="rId2" Type="http://schemas.microsoft.com/office/2011/relationships/chartColorStyle" Target="colors4.xml"/><Relationship Id="rId3"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microsoft.com/office/2011/relationships/chartStyle" Target="style40.xml"/><Relationship Id="rId2" Type="http://schemas.microsoft.com/office/2011/relationships/chartColorStyle" Target="colors40.xml"/><Relationship Id="rId3"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microsoft.com/office/2011/relationships/chartStyle" Target="style41.xml"/><Relationship Id="rId2" Type="http://schemas.microsoft.com/office/2011/relationships/chartColorStyle" Target="colors41.xml"/><Relationship Id="rId3"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microsoft.com/office/2011/relationships/chartStyle" Target="style42.xml"/><Relationship Id="rId2" Type="http://schemas.microsoft.com/office/2011/relationships/chartColorStyle" Target="colors42.xml"/><Relationship Id="rId3"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microsoft.com/office/2011/relationships/chartStyle" Target="style43.xml"/><Relationship Id="rId2" Type="http://schemas.microsoft.com/office/2011/relationships/chartColorStyle" Target="colors43.xml"/><Relationship Id="rId3"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microsoft.com/office/2011/relationships/chartStyle" Target="style44.xml"/><Relationship Id="rId2" Type="http://schemas.microsoft.com/office/2011/relationships/chartColorStyle" Target="colors44.xml"/><Relationship Id="rId3"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microsoft.com/office/2011/relationships/chartStyle" Target="style45.xml"/><Relationship Id="rId2" Type="http://schemas.microsoft.com/office/2011/relationships/chartColorStyle" Target="colors45.xml"/><Relationship Id="rId3"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microsoft.com/office/2011/relationships/chartStyle" Target="style46.xml"/><Relationship Id="rId2" Type="http://schemas.microsoft.com/office/2011/relationships/chartColorStyle" Target="colors46.xml"/><Relationship Id="rId3"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microsoft.com/office/2011/relationships/chartStyle" Target="style47.xml"/><Relationship Id="rId2" Type="http://schemas.microsoft.com/office/2011/relationships/chartColorStyle" Target="colors47.xml"/><Relationship Id="rId3"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microsoft.com/office/2011/relationships/chartStyle" Target="style48.xml"/><Relationship Id="rId2" Type="http://schemas.microsoft.com/office/2011/relationships/chartColorStyle" Target="colors48.xml"/><Relationship Id="rId3"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microsoft.com/office/2011/relationships/chartStyle" Target="style49.xml"/><Relationship Id="rId2" Type="http://schemas.microsoft.com/office/2011/relationships/chartColorStyle" Target="colors49.xml"/><Relationship Id="rId3"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microsoft.com/office/2011/relationships/chartStyle" Target="style5.xml"/><Relationship Id="rId2" Type="http://schemas.microsoft.com/office/2011/relationships/chartColorStyle" Target="colors5.xml"/><Relationship Id="rId3"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microsoft.com/office/2011/relationships/chartStyle" Target="style50.xml"/><Relationship Id="rId2" Type="http://schemas.microsoft.com/office/2011/relationships/chartColorStyle" Target="colors50.xml"/><Relationship Id="rId3"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microsoft.com/office/2011/relationships/chartStyle" Target="style51.xml"/><Relationship Id="rId2" Type="http://schemas.microsoft.com/office/2011/relationships/chartColorStyle" Target="colors51.xml"/><Relationship Id="rId3"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microsoft.com/office/2011/relationships/chartStyle" Target="style52.xml"/><Relationship Id="rId2" Type="http://schemas.microsoft.com/office/2011/relationships/chartColorStyle" Target="colors52.xml"/><Relationship Id="rId3"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microsoft.com/office/2011/relationships/chartStyle" Target="style53.xml"/><Relationship Id="rId2" Type="http://schemas.microsoft.com/office/2011/relationships/chartColorStyle" Target="colors53.xml"/><Relationship Id="rId3"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microsoft.com/office/2011/relationships/chartStyle" Target="style54.xml"/><Relationship Id="rId2" Type="http://schemas.microsoft.com/office/2011/relationships/chartColorStyle" Target="colors54.xml"/><Relationship Id="rId3"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microsoft.com/office/2011/relationships/chartStyle" Target="style55.xml"/><Relationship Id="rId2" Type="http://schemas.microsoft.com/office/2011/relationships/chartColorStyle" Target="colors55.xml"/><Relationship Id="rId3"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microsoft.com/office/2011/relationships/chartStyle" Target="style56.xml"/><Relationship Id="rId2" Type="http://schemas.microsoft.com/office/2011/relationships/chartColorStyle" Target="colors56.xml"/><Relationship Id="rId3"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microsoft.com/office/2011/relationships/chartStyle" Target="style57.xml"/><Relationship Id="rId2" Type="http://schemas.microsoft.com/office/2011/relationships/chartColorStyle" Target="colors57.xml"/><Relationship Id="rId3"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microsoft.com/office/2011/relationships/chartStyle" Target="style58.xml"/><Relationship Id="rId2" Type="http://schemas.microsoft.com/office/2011/relationships/chartColorStyle" Target="colors58.xml"/><Relationship Id="rId3"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microsoft.com/office/2011/relationships/chartStyle" Target="style59.xml"/><Relationship Id="rId2" Type="http://schemas.microsoft.com/office/2011/relationships/chartColorStyle" Target="colors59.xml"/><Relationship Id="rId3"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microsoft.com/office/2011/relationships/chartStyle" Target="style6.xml"/><Relationship Id="rId2" Type="http://schemas.microsoft.com/office/2011/relationships/chartColorStyle" Target="colors6.xml"/><Relationship Id="rId3"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microsoft.com/office/2011/relationships/chartStyle" Target="style60.xml"/><Relationship Id="rId2" Type="http://schemas.microsoft.com/office/2011/relationships/chartColorStyle" Target="colors60.xml"/><Relationship Id="rId3"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microsoft.com/office/2011/relationships/chartStyle" Target="style61.xml"/><Relationship Id="rId2" Type="http://schemas.microsoft.com/office/2011/relationships/chartColorStyle" Target="colors61.xml"/><Relationship Id="rId3"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microsoft.com/office/2011/relationships/chartStyle" Target="style62.xml"/><Relationship Id="rId2" Type="http://schemas.microsoft.com/office/2011/relationships/chartColorStyle" Target="colors62.xml"/><Relationship Id="rId3"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microsoft.com/office/2011/relationships/chartStyle" Target="style63.xml"/><Relationship Id="rId2" Type="http://schemas.microsoft.com/office/2011/relationships/chartColorStyle" Target="colors63.xml"/><Relationship Id="rId3"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microsoft.com/office/2011/relationships/chartStyle" Target="style64.xml"/><Relationship Id="rId2" Type="http://schemas.microsoft.com/office/2011/relationships/chartColorStyle" Target="colors64.xml"/><Relationship Id="rId3"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microsoft.com/office/2011/relationships/chartStyle" Target="style65.xml"/><Relationship Id="rId2" Type="http://schemas.microsoft.com/office/2011/relationships/chartColorStyle" Target="colors65.xml"/><Relationship Id="rId3"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microsoft.com/office/2011/relationships/chartStyle" Target="style66.xml"/><Relationship Id="rId2" Type="http://schemas.microsoft.com/office/2011/relationships/chartColorStyle" Target="colors66.xml"/><Relationship Id="rId3"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microsoft.com/office/2011/relationships/chartStyle" Target="style67.xml"/><Relationship Id="rId2" Type="http://schemas.microsoft.com/office/2011/relationships/chartColorStyle" Target="colors67.xml"/><Relationship Id="rId3"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microsoft.com/office/2011/relationships/chartStyle" Target="style68.xml"/><Relationship Id="rId2" Type="http://schemas.microsoft.com/office/2011/relationships/chartColorStyle" Target="colors68.xml"/><Relationship Id="rId3"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microsoft.com/office/2011/relationships/chartStyle" Target="style69.xml"/><Relationship Id="rId2" Type="http://schemas.microsoft.com/office/2011/relationships/chartColorStyle" Target="colors69.xml"/><Relationship Id="rId3"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microsoft.com/office/2011/relationships/chartStyle" Target="style7.xml"/><Relationship Id="rId2" Type="http://schemas.microsoft.com/office/2011/relationships/chartColorStyle" Target="colors7.xml"/><Relationship Id="rId3"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microsoft.com/office/2011/relationships/chartStyle" Target="style70.xml"/><Relationship Id="rId2" Type="http://schemas.microsoft.com/office/2011/relationships/chartColorStyle" Target="colors70.xml"/><Relationship Id="rId3"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microsoft.com/office/2011/relationships/chartStyle" Target="style71.xml"/><Relationship Id="rId2" Type="http://schemas.microsoft.com/office/2011/relationships/chartColorStyle" Target="colors71.xml"/><Relationship Id="rId3"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microsoft.com/office/2011/relationships/chartStyle" Target="style72.xml"/><Relationship Id="rId2" Type="http://schemas.microsoft.com/office/2011/relationships/chartColorStyle" Target="colors72.xml"/><Relationship Id="rId3"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microsoft.com/office/2011/relationships/chartStyle" Target="style73.xml"/><Relationship Id="rId2" Type="http://schemas.microsoft.com/office/2011/relationships/chartColorStyle" Target="colors73.xml"/><Relationship Id="rId3"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microsoft.com/office/2011/relationships/chartStyle" Target="style74.xml"/><Relationship Id="rId2" Type="http://schemas.microsoft.com/office/2011/relationships/chartColorStyle" Target="colors74.xml"/><Relationship Id="rId3"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microsoft.com/office/2011/relationships/chartStyle" Target="style75.xml"/><Relationship Id="rId2" Type="http://schemas.microsoft.com/office/2011/relationships/chartColorStyle" Target="colors75.xml"/><Relationship Id="rId3"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microsoft.com/office/2011/relationships/chartStyle" Target="style76.xml"/><Relationship Id="rId2" Type="http://schemas.microsoft.com/office/2011/relationships/chartColorStyle" Target="colors76.xml"/><Relationship Id="rId3"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microsoft.com/office/2011/relationships/chartStyle" Target="style77.xml"/><Relationship Id="rId2" Type="http://schemas.microsoft.com/office/2011/relationships/chartColorStyle" Target="colors77.xml"/><Relationship Id="rId3"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microsoft.com/office/2011/relationships/chartStyle" Target="style78.xml"/><Relationship Id="rId2" Type="http://schemas.microsoft.com/office/2011/relationships/chartColorStyle" Target="colors78.xml"/><Relationship Id="rId3"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microsoft.com/office/2011/relationships/chartStyle" Target="style79.xml"/><Relationship Id="rId2" Type="http://schemas.microsoft.com/office/2011/relationships/chartColorStyle" Target="colors79.xml"/><Relationship Id="rId3"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microsoft.com/office/2011/relationships/chartStyle" Target="style8.xml"/><Relationship Id="rId2" Type="http://schemas.microsoft.com/office/2011/relationships/chartColorStyle" Target="colors8.xml"/><Relationship Id="rId3"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microsoft.com/office/2011/relationships/chartStyle" Target="style80.xml"/><Relationship Id="rId2" Type="http://schemas.microsoft.com/office/2011/relationships/chartColorStyle" Target="colors80.xml"/><Relationship Id="rId3"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microsoft.com/office/2011/relationships/chartStyle" Target="style81.xml"/><Relationship Id="rId2" Type="http://schemas.microsoft.com/office/2011/relationships/chartColorStyle" Target="colors81.xml"/><Relationship Id="rId3"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microsoft.com/office/2011/relationships/chartStyle" Target="style82.xml"/><Relationship Id="rId2" Type="http://schemas.microsoft.com/office/2011/relationships/chartColorStyle" Target="colors82.xml"/><Relationship Id="rId3"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microsoft.com/office/2011/relationships/chartStyle" Target="style9.xml"/><Relationship Id="rId2" Type="http://schemas.microsoft.com/office/2011/relationships/chartColorStyle" Target="colors9.xml"/><Relationship Id="rId3"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09</a:t>
                    </a:r>
                  </a:p>
                </c:rich>
              </c:tx>
              <c:dLblPos val="t"/>
              <c:showLegendKey val="0"/>
              <c:showVal val="1"/>
              <c:showCatName val="0"/>
              <c:showSerName val="0"/>
              <c:showPercent val="0"/>
              <c:showBubbleSize val="0"/>
            </c:dLbl>
            <c:dLbl>
              <c:idx val="1"/>
              <c:tx>
                <c:rich>
                  <a:bodyPr/>
                  <a:lstStyle/>
                  <a:p>
                    <a:r>
                      <a:t>7.29</a:t>
                    </a:r>
                  </a:p>
                </c:rich>
              </c:tx>
              <c:dLblPos val="t"/>
              <c:showLegendKey val="0"/>
              <c:showVal val="1"/>
              <c:showCatName val="0"/>
              <c:showSerName val="0"/>
              <c:showPercent val="0"/>
              <c:showBubbleSize val="0"/>
            </c:dLbl>
            <c:dLbl>
              <c:idx val="2"/>
              <c:tx>
                <c:rich>
                  <a:bodyPr/>
                  <a:lstStyle/>
                  <a:p>
                    <a:r>
                      <a:t>7.27</a:t>
                    </a:r>
                  </a:p>
                </c:rich>
              </c:tx>
              <c:dLblPos val="t"/>
              <c:showLegendKey val="0"/>
              <c:showVal val="1"/>
              <c:showCatName val="0"/>
              <c:showSerName val="0"/>
              <c:showPercent val="0"/>
              <c:showBubbleSize val="0"/>
            </c:dLbl>
            <c:dLbl>
              <c:idx val="3"/>
              <c:tx>
                <c:rich>
                  <a:bodyPr/>
                  <a:lstStyle/>
                  <a:p>
                    <a:r>
                      <a:t>11.92</a:t>
                    </a:r>
                  </a:p>
                </c:rich>
              </c:tx>
              <c:dLblPos val="t"/>
              <c:showLegendKey val="0"/>
              <c:showVal val="1"/>
              <c:showCatName val="0"/>
              <c:showSerName val="0"/>
              <c:showPercent val="0"/>
              <c:showBubbleSize val="0"/>
            </c:dLbl>
            <c:dLbl>
              <c:idx val="4"/>
              <c:tx>
                <c:rich>
                  <a:bodyPr/>
                  <a:lstStyle/>
                  <a:p>
                    <a:r>
                      <a:t>9.2</a:t>
                    </a:r>
                  </a:p>
                </c:rich>
              </c:tx>
              <c:dLblPos val="t"/>
              <c:showLegendKey val="0"/>
              <c:showVal val="1"/>
              <c:showCatName val="0"/>
              <c:showSerName val="0"/>
              <c:showPercent val="0"/>
              <c:showBubbleSize val="0"/>
            </c:dLbl>
            <c:dLbl>
              <c:idx val="5"/>
              <c:tx>
                <c:rich>
                  <a:bodyPr/>
                  <a:lstStyle/>
                  <a:p>
                    <a:r>
                      <a:t>16.66</a:t>
                    </a:r>
                  </a:p>
                </c:rich>
              </c:tx>
              <c:dLblPos val="t"/>
              <c:showLegendKey val="0"/>
              <c:showVal val="1"/>
              <c:showCatName val="0"/>
              <c:showSerName val="0"/>
              <c:showPercent val="0"/>
              <c:showBubbleSize val="0"/>
            </c:dLbl>
            <c:dLbl>
              <c:idx val="6"/>
              <c:tx>
                <c:rich>
                  <a:bodyPr/>
                  <a:lstStyle/>
                  <a:p>
                    <a:r>
                      <a:t>16.0</a:t>
                    </a:r>
                  </a:p>
                </c:rich>
              </c:tx>
              <c:dLblPos val="t"/>
              <c:showLegendKey val="0"/>
              <c:showVal val="1"/>
              <c:showCatName val="0"/>
              <c:showSerName val="0"/>
              <c:showPercent val="0"/>
              <c:showBubbleSize val="0"/>
            </c:dLbl>
            <c:dLbl>
              <c:idx val="7"/>
              <c:tx>
                <c:rich>
                  <a:bodyPr/>
                  <a:lstStyle/>
                  <a:p>
                    <a:r>
                      <a:t>11.19</a:t>
                    </a:r>
                  </a:p>
                </c:rich>
              </c:tx>
              <c:dLblPos val="t"/>
              <c:showLegendKey val="0"/>
              <c:showVal val="1"/>
              <c:showCatName val="0"/>
              <c:showSerName val="0"/>
              <c:showPercent val="0"/>
              <c:showBubbleSize val="0"/>
            </c:dLbl>
            <c:dLbl>
              <c:idx val="8"/>
              <c:tx>
                <c:rich>
                  <a:bodyPr/>
                  <a:lstStyle/>
                  <a:p>
                    <a:r>
                      <a:t>15.18</a:t>
                    </a:r>
                  </a:p>
                </c:rich>
              </c:tx>
              <c:dLblPos val="t"/>
              <c:showLegendKey val="0"/>
              <c:showVal val="1"/>
              <c:showCatName val="0"/>
              <c:showSerName val="0"/>
              <c:showPercent val="0"/>
              <c:showBubbleSize val="0"/>
            </c:dLbl>
            <c:dLbl>
              <c:idx val="9"/>
              <c:tx>
                <c:rich>
                  <a:bodyPr/>
                  <a:lstStyle/>
                  <a:p>
                    <a:r>
                      <a:t>15.11</a:t>
                    </a:r>
                  </a:p>
                </c:rich>
              </c:tx>
              <c:dLblPos val="t"/>
              <c:showLegendKey val="0"/>
              <c:showVal val="1"/>
              <c:showCatName val="0"/>
              <c:showSerName val="0"/>
              <c:showPercent val="0"/>
              <c:showBubbleSize val="0"/>
            </c:dLbl>
            <c:dLbl>
              <c:idx val="10"/>
              <c:tx>
                <c:rich>
                  <a:bodyPr/>
                  <a:lstStyle/>
                  <a:p>
                    <a:r>
                      <a:t>15.22</a:t>
                    </a:r>
                  </a:p>
                </c:rich>
              </c:tx>
              <c:dLblPos val="t"/>
              <c:showLegendKey val="0"/>
              <c:showVal val="1"/>
              <c:showCatName val="0"/>
              <c:showSerName val="0"/>
              <c:showPercent val="0"/>
              <c:showBubbleSize val="0"/>
            </c:dLbl>
            <c:dLbl>
              <c:idx val="11"/>
              <c:tx>
                <c:rich>
                  <a:bodyPr/>
                  <a:lstStyle/>
                  <a:p>
                    <a:r>
                      <a:t>10.59</a:t>
                    </a:r>
                  </a:p>
                </c:rich>
              </c:tx>
              <c:dLblPos val="t"/>
              <c:showLegendKey val="0"/>
              <c:showVal val="1"/>
              <c:showCatName val="0"/>
              <c:showSerName val="0"/>
              <c:showPercent val="0"/>
              <c:showBubbleSize val="0"/>
            </c:dLbl>
            <c:dLbl>
              <c:idx val="12"/>
              <c:tx>
                <c:rich>
                  <a:bodyPr/>
                  <a:lstStyle/>
                  <a:p>
                    <a:r>
                      <a:t>26.91</a:t>
                    </a:r>
                  </a:p>
                </c:rich>
              </c:tx>
              <c:dLblPos val="t"/>
              <c:showLegendKey val="0"/>
              <c:showVal val="1"/>
              <c:showCatName val="0"/>
              <c:showSerName val="0"/>
              <c:showPercent val="0"/>
              <c:showBubbleSize val="0"/>
            </c:dLbl>
            <c:dLbl>
              <c:idx val="13"/>
              <c:tx>
                <c:rich>
                  <a:bodyPr/>
                  <a:lstStyle/>
                  <a:p>
                    <a:r>
                      <a:t>16.88</a:t>
                    </a:r>
                  </a:p>
                </c:rich>
              </c:tx>
              <c:dLblPos val="t"/>
              <c:showLegendKey val="0"/>
              <c:showVal val="1"/>
              <c:showCatName val="0"/>
              <c:showSerName val="0"/>
              <c:showPercent val="0"/>
              <c:showBubbleSize val="0"/>
            </c:dLbl>
            <c:dLbl>
              <c:idx val="14"/>
              <c:tx>
                <c:rich>
                  <a:bodyPr/>
                  <a:lstStyle/>
                  <a:p>
                    <a:r>
                      <a:t>13.5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CHICK XTREME 3 SENSITIVE BLACK GREEN 3 BLADE DISPOSABLE SENSITIVE 20CT</c:v>
                </c:pt>
                <c:pt idx="1">
                  <c:v>SCHICK XTREME 2 SENSITIVE 2 BLADE DISPOSABLE NORMAL 12CT</c:v>
                </c:pt>
                <c:pt idx="2">
                  <c:v>SCHICK XTREME 3 SENSITIVE BLACK 3 BLADE DISPOSABLE SENSITIVE 4CT</c:v>
                </c:pt>
                <c:pt idx="3">
                  <c:v>SCHICK XTREME 3 SENSITIVE GREEN 3 BLADE DISPOSABLE SENSITIVE 8CT</c:v>
                </c:pt>
                <c:pt idx="4">
                  <c:v>SCHICK XTREME 3 SENSITIVE GREEN BLACK 3 BLADE DISPOSABLE SENSITIVE 4CT</c:v>
                </c:pt>
                <c:pt idx="5">
                  <c:v>SCHICK XTREME 3 SENSITIVE GREEN BLACK 3 BLADE DISPOSABLE SENSITIVE 8CT</c:v>
                </c:pt>
                <c:pt idx="6">
                  <c:v>SCHICK XTREME 3 SENSITIVE GREEN BLACK 3 BLADE DISPOSABLE SENSITIVE 12CT</c:v>
                </c:pt>
                <c:pt idx="7">
                  <c:v>HYDRO 5 5 BLADE DISPOSABLE NORMAL 3CT</c:v>
                </c:pt>
                <c:pt idx="8">
                  <c:v>SCHICK XTREME 3 SENSITIVE GREEN 3 BLADE DISPOSABLE SENSITIVE 12CT</c:v>
                </c:pt>
                <c:pt idx="9">
                  <c:v>SCHICK XTREME 3 SENSITIVE BLACK GREEN 3 BLADE DISPOSABLE SENSITIVE 12CT</c:v>
                </c:pt>
                <c:pt idx="10">
                  <c:v>HYDRO 5 SENSITIVE 5 BLADE REFILL SENSITIVE 6CT</c:v>
                </c:pt>
                <c:pt idx="11">
                  <c:v>HYDRO 5 SENSITIVE 5 BLADE RAZOR SENSITIVE 3CT</c:v>
                </c:pt>
                <c:pt idx="12">
                  <c:v>HYDRO 5 SENSITIVE 5 BLADE REFILL SENSITIVE 12CT</c:v>
                </c:pt>
                <c:pt idx="13">
                  <c:v>HYDRO 5 DRY SKIN 5 BLADE REFILL DRY 6CT</c:v>
                </c:pt>
                <c:pt idx="14">
                  <c:v>SCHICK QUATTRO FOR MEN 4 BLADE REFILL NORMAL 8CT</c:v>
                </c:pt>
              </c:strCache>
            </c:strRef>
          </c:cat>
          <c:val>
            <c:numRef>
              <c:f>Sheet1!$B$2:$B$16</c:f>
              <c:numCache>
                <c:formatCode>General</c:formatCode>
                <c:ptCount val="15"/>
                <c:pt idx="0">
                  <c:v>20.09</c:v>
                </c:pt>
                <c:pt idx="1">
                  <c:v>7.29</c:v>
                </c:pt>
                <c:pt idx="2">
                  <c:v>7.27</c:v>
                </c:pt>
                <c:pt idx="3">
                  <c:v>11.92</c:v>
                </c:pt>
                <c:pt idx="4">
                  <c:v>9.2</c:v>
                </c:pt>
                <c:pt idx="5">
                  <c:v>16.66</c:v>
                </c:pt>
                <c:pt idx="6">
                  <c:v>16.0</c:v>
                </c:pt>
                <c:pt idx="7">
                  <c:v>11.19</c:v>
                </c:pt>
                <c:pt idx="8">
                  <c:v>15.18</c:v>
                </c:pt>
                <c:pt idx="9">
                  <c:v>15.11</c:v>
                </c:pt>
                <c:pt idx="10">
                  <c:v>15.22</c:v>
                </c:pt>
                <c:pt idx="11">
                  <c:v>10.59</c:v>
                </c:pt>
                <c:pt idx="12">
                  <c:v>26.91</c:v>
                </c:pt>
                <c:pt idx="13">
                  <c:v>16.88</c:v>
                </c:pt>
                <c:pt idx="14">
                  <c:v>13.5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6.85</a:t>
                    </a:r>
                  </a:p>
                </c:rich>
              </c:tx>
              <c:dLblPos val="t"/>
              <c:showLegendKey val="0"/>
              <c:showVal val="1"/>
              <c:showCatName val="0"/>
              <c:showSerName val="0"/>
              <c:showPercent val="0"/>
              <c:showBubbleSize val="0"/>
            </c:dLbl>
            <c:dLbl>
              <c:idx val="1"/>
              <c:tx>
                <c:rich>
                  <a:bodyPr/>
                  <a:lstStyle/>
                  <a:p>
                    <a:r>
                      <a:t>13.8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EMO 5 BLADE RAZOR NORMAL 2CT</c:v>
                </c:pt>
                <c:pt idx="1">
                  <c:v>CREMO 5 BLADE REFILL NORMAL 4CT</c:v>
                </c:pt>
              </c:strCache>
            </c:strRef>
          </c:cat>
          <c:val>
            <c:numRef>
              <c:f>Sheet1!$B$2:$B$3</c:f>
              <c:numCache>
                <c:formatCode>General</c:formatCode>
                <c:ptCount val="2"/>
                <c:pt idx="0">
                  <c:v>16.85</c:v>
                </c:pt>
                <c:pt idx="1">
                  <c:v>13.8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Disposables</c:v>
                  </c:pt>
                  <c:pt idx="1">
                    <c:v>Disposables</c:v>
                  </c:pt>
                  <c:pt idx="2">
                    <c:v>Disposables</c:v>
                  </c:pt>
                </c:lvl>
                <c:lvl>
                  <c:pt idx="0">
                    <c:v>Gillette</c:v>
                  </c:pt>
                  <c:pt idx="1">
                    <c:v>Schick</c:v>
                  </c:pt>
                  <c:pt idx="2">
                    <c:v>Equate</c:v>
                  </c:pt>
                </c:lvl>
              </c:multiLvlStrCache>
            </c:multiLvlStrRef>
          </c:cat>
          <c:val>
            <c:numRef>
              <c:f>Sheet1!$C$2:$C$4</c:f>
              <c:numCache>
                <c:formatCode>General</c:formatCode>
                <c:ptCount val="3"/>
                <c:pt idx="1">
                  <c:v>12.5455</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4</c:f>
              <c:multiLvlStrCache>
                <c:ptCount val="3"/>
                <c:lvl>
                  <c:pt idx="0">
                    <c:v>Disposables</c:v>
                  </c:pt>
                  <c:pt idx="1">
                    <c:v>Disposables</c:v>
                  </c:pt>
                  <c:pt idx="2">
                    <c:v>Disposables</c:v>
                  </c:pt>
                </c:lvl>
                <c:lvl>
                  <c:pt idx="0">
                    <c:v>Gillette</c:v>
                  </c:pt>
                  <c:pt idx="1">
                    <c:v>Schick</c:v>
                  </c:pt>
                  <c:pt idx="2">
                    <c:v>Equate</c:v>
                  </c:pt>
                </c:lvl>
              </c:multiLvlStrCache>
            </c:multiLvlStrRef>
          </c:cat>
          <c:val>
            <c:numRef>
              <c:f>Sheet1!$D$2:$D$4</c:f>
              <c:numCache>
                <c:formatCode>General</c:formatCode>
                <c:ptCount val="3"/>
                <c:pt idx="1">
                  <c:v>8.4028</c:v>
                </c:pt>
                <c:pt idx="2">
                  <c:v>2.1772</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6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Disposables</c:v>
                  </c:pt>
                  <c:pt idx="1">
                    <c:v>Disposables</c:v>
                  </c:pt>
                  <c:pt idx="2">
                    <c:v>Disposables</c:v>
                  </c:pt>
                </c:lvl>
                <c:lvl>
                  <c:pt idx="0">
                    <c:v>Gillette</c:v>
                  </c:pt>
                  <c:pt idx="1">
                    <c:v>Schick</c:v>
                  </c:pt>
                  <c:pt idx="2">
                    <c:v>Equate</c:v>
                  </c:pt>
                </c:lvl>
              </c:multiLvlStrCache>
            </c:multiLvlStrRef>
          </c:cat>
          <c:val>
            <c:numRef>
              <c:f>Sheet1!$E$2:$E$4</c:f>
              <c:numCache>
                <c:formatCode>General</c:formatCode>
                <c:ptCount val="3"/>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8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Disposables</c:v>
                  </c:pt>
                  <c:pt idx="1">
                    <c:v>Disposables</c:v>
                  </c:pt>
                  <c:pt idx="2">
                    <c:v>Disposables</c:v>
                  </c:pt>
                </c:lvl>
                <c:lvl>
                  <c:pt idx="0">
                    <c:v>Gillette</c:v>
                  </c:pt>
                  <c:pt idx="1">
                    <c:v>Schick</c:v>
                  </c:pt>
                  <c:pt idx="2">
                    <c:v>Equate</c:v>
                  </c:pt>
                </c:lvl>
              </c:multiLvlStrCache>
            </c:multiLvlStrRef>
          </c:cat>
          <c:val>
            <c:numRef>
              <c:f>Sheet1!$F$2:$F$4</c:f>
              <c:numCache>
                <c:formatCode>General</c:formatCode>
                <c:ptCount val="3"/>
                <c:pt idx="0">
                  <c:v>14.8953</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4</c:f>
              <c:multiLvlStrCache>
                <c:ptCount val="3"/>
                <c:lvl>
                  <c:pt idx="0">
                    <c:v>Disposables</c:v>
                  </c:pt>
                  <c:pt idx="1">
                    <c:v>Disposables</c:v>
                  </c:pt>
                  <c:pt idx="2">
                    <c:v>Disposables</c:v>
                  </c:pt>
                </c:lvl>
                <c:lvl>
                  <c:pt idx="0">
                    <c:v>Gillette</c:v>
                  </c:pt>
                  <c:pt idx="1">
                    <c:v>Schick</c:v>
                  </c:pt>
                  <c:pt idx="2">
                    <c:v>Equate</c:v>
                  </c:pt>
                </c:lvl>
              </c:multiLvlStrCache>
            </c:multiLvlStrRef>
          </c:cat>
          <c:val>
            <c:numRef>
              <c:f>Sheet1!$G$2:$G$4</c:f>
              <c:numCache>
                <c:formatCode>General</c:formatCode>
                <c:ptCount val="3"/>
                <c:pt idx="1">
                  <c:v>2.5752</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20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Disposables</c:v>
                  </c:pt>
                  <c:pt idx="1">
                    <c:v>Disposables</c:v>
                  </c:pt>
                  <c:pt idx="2">
                    <c:v>Disposables</c:v>
                  </c:pt>
                </c:lvl>
                <c:lvl>
                  <c:pt idx="0">
                    <c:v>Gillette</c:v>
                  </c:pt>
                  <c:pt idx="1">
                    <c:v>Schick</c:v>
                  </c:pt>
                  <c:pt idx="2">
                    <c:v>Equate</c:v>
                  </c:pt>
                </c:lvl>
              </c:multiLvlStrCache>
            </c:multiLvlStrRef>
          </c:cat>
          <c:val>
            <c:numRef>
              <c:f>Sheet1!$H$2:$H$4</c:f>
              <c:numCache>
                <c:formatCode>General</c:formatCode>
                <c:ptCount val="3"/>
                <c:pt idx="1">
                  <c:v>18.1866</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21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Disposables</c:v>
                  </c:pt>
                  <c:pt idx="1">
                    <c:v>Disposables</c:v>
                  </c:pt>
                  <c:pt idx="2">
                    <c:v>Disposables</c:v>
                  </c:pt>
                </c:lvl>
                <c:lvl>
                  <c:pt idx="0">
                    <c:v>Gillette</c:v>
                  </c:pt>
                  <c:pt idx="1">
                    <c:v>Schick</c:v>
                  </c:pt>
                  <c:pt idx="2">
                    <c:v>Equate</c:v>
                  </c:pt>
                </c:lvl>
              </c:multiLvlStrCache>
            </c:multiLvlStrRef>
          </c:cat>
          <c:val>
            <c:numRef>
              <c:f>Sheet1!$I$2:$I$4</c:f>
              <c:numCache>
                <c:formatCode>General</c:formatCode>
                <c:ptCount val="3"/>
                <c:pt idx="0">
                  <c:v>20.5309</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4CT</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Disposables</c:v>
                  </c:pt>
                  <c:pt idx="1">
                    <c:v>Disposables</c:v>
                  </c:pt>
                  <c:pt idx="2">
                    <c:v>Disposables</c:v>
                  </c:pt>
                </c:lvl>
                <c:lvl>
                  <c:pt idx="0">
                    <c:v>Gillette</c:v>
                  </c:pt>
                  <c:pt idx="1">
                    <c:v>Schick</c:v>
                  </c:pt>
                  <c:pt idx="2">
                    <c:v>Equate</c:v>
                  </c:pt>
                </c:lvl>
              </c:multiLvlStrCache>
            </c:multiLvlStrRef>
          </c:cat>
          <c:val>
            <c:numRef>
              <c:f>Sheet1!$J$2:$J$4</c:f>
              <c:numCache>
                <c:formatCode>General</c:formatCode>
                <c:ptCount val="3"/>
                <c:pt idx="0">
                  <c:v>22.2881</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5CT</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Disposables</c:v>
                  </c:pt>
                  <c:pt idx="1">
                    <c:v>Disposables</c:v>
                  </c:pt>
                  <c:pt idx="2">
                    <c:v>Disposables</c:v>
                  </c:pt>
                </c:lvl>
                <c:lvl>
                  <c:pt idx="0">
                    <c:v>Gillette</c:v>
                  </c:pt>
                  <c:pt idx="1">
                    <c:v>Schick</c:v>
                  </c:pt>
                  <c:pt idx="2">
                    <c:v>Equate</c:v>
                  </c:pt>
                </c:lvl>
              </c:multiLvlStrCache>
            </c:multiLvlStrRef>
          </c:cat>
          <c:val>
            <c:numRef>
              <c:f>Sheet1!$K$2:$K$4</c:f>
              <c:numCache>
                <c:formatCode>General</c:formatCode>
                <c:ptCount val="3"/>
                <c:pt idx="0">
                  <c:v>20.5813</c:v>
                </c:pt>
                <c:pt idx="1">
                  <c:v>21.7178</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4</c:f>
              <c:multiLvlStrCache>
                <c:ptCount val="3"/>
                <c:lvl>
                  <c:pt idx="0">
                    <c:v>Disposables</c:v>
                  </c:pt>
                  <c:pt idx="1">
                    <c:v>Disposables</c:v>
                  </c:pt>
                  <c:pt idx="2">
                    <c:v>Disposables</c:v>
                  </c:pt>
                </c:lvl>
                <c:lvl>
                  <c:pt idx="0">
                    <c:v>Gillette</c:v>
                  </c:pt>
                  <c:pt idx="1">
                    <c:v>Schick</c:v>
                  </c:pt>
                  <c:pt idx="2">
                    <c:v>Equate</c:v>
                  </c:pt>
                </c:lvl>
              </c:multiLvlStrCache>
            </c:multiLvlStrRef>
          </c:cat>
          <c:val>
            <c:numRef>
              <c:f>Sheet1!$L$2:$L$4</c:f>
              <c:numCache>
                <c:formatCode>General</c:formatCode>
                <c:ptCount val="3"/>
                <c:pt idx="1">
                  <c:v>2.9434</c:v>
                </c:pt>
                <c:pt idx="2">
                  <c:v>2.1102</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3CT</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Disposables</c:v>
                  </c:pt>
                  <c:pt idx="1">
                    <c:v>Disposables</c:v>
                  </c:pt>
                  <c:pt idx="2">
                    <c:v>Disposables</c:v>
                  </c:pt>
                </c:lvl>
                <c:lvl>
                  <c:pt idx="0">
                    <c:v>Gillette</c:v>
                  </c:pt>
                  <c:pt idx="1">
                    <c:v>Schick</c:v>
                  </c:pt>
                  <c:pt idx="2">
                    <c:v>Equate</c:v>
                  </c:pt>
                </c:lvl>
              </c:multiLvlStrCache>
            </c:multiLvlStrRef>
          </c:cat>
          <c:val>
            <c:numRef>
              <c:f>Sheet1!$M$2:$M$4</c:f>
              <c:numCache>
                <c:formatCode>General</c:formatCode>
                <c:ptCount val="3"/>
                <c:pt idx="1">
                  <c:v>9.1257</c:v>
                </c:pt>
                <c:pt idx="2">
                  <c:v>5.049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4CT</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Disposables</c:v>
                  </c:pt>
                  <c:pt idx="1">
                    <c:v>Disposables</c:v>
                  </c:pt>
                  <c:pt idx="2">
                    <c:v>Disposables</c:v>
                  </c:pt>
                </c:lvl>
                <c:lvl>
                  <c:pt idx="0">
                    <c:v>Gillette</c:v>
                  </c:pt>
                  <c:pt idx="1">
                    <c:v>Schick</c:v>
                  </c:pt>
                  <c:pt idx="2">
                    <c:v>Equate</c:v>
                  </c:pt>
                </c:lvl>
              </c:multiLvlStrCache>
            </c:multiLvlStrRef>
          </c:cat>
          <c:val>
            <c:numRef>
              <c:f>Sheet1!$N$2:$N$4</c:f>
              <c:numCache>
                <c:formatCode>General</c:formatCode>
                <c:ptCount val="3"/>
                <c:pt idx="1">
                  <c:v>7.0706</c:v>
                </c:pt>
                <c:pt idx="2">
                  <c:v>3.97</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5CT</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4</c:f>
              <c:multiLvlStrCache>
                <c:ptCount val="3"/>
                <c:lvl>
                  <c:pt idx="0">
                    <c:v>Disposables</c:v>
                  </c:pt>
                  <c:pt idx="1">
                    <c:v>Disposables</c:v>
                  </c:pt>
                  <c:pt idx="2">
                    <c:v>Disposables</c:v>
                  </c:pt>
                </c:lvl>
                <c:lvl>
                  <c:pt idx="0">
                    <c:v>Gillette</c:v>
                  </c:pt>
                  <c:pt idx="1">
                    <c:v>Schick</c:v>
                  </c:pt>
                  <c:pt idx="2">
                    <c:v>Equate</c:v>
                  </c:pt>
                </c:lvl>
              </c:multiLvlStrCache>
            </c:multiLvlStrRef>
          </c:cat>
          <c:val>
            <c:numRef>
              <c:f>Sheet1!$O$2:$O$4</c:f>
              <c:numCache>
                <c:formatCode>General</c:formatCode>
                <c:ptCount val="3"/>
                <c:pt idx="2">
                  <c:v>1.0016</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6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Disposables</c:v>
                  </c:pt>
                  <c:pt idx="1">
                    <c:v>Disposables</c:v>
                  </c:pt>
                  <c:pt idx="2">
                    <c:v>Disposables</c:v>
                  </c:pt>
                </c:lvl>
                <c:lvl>
                  <c:pt idx="0">
                    <c:v>Gillette</c:v>
                  </c:pt>
                  <c:pt idx="1">
                    <c:v>Schick</c:v>
                  </c:pt>
                  <c:pt idx="2">
                    <c:v>Equate</c:v>
                  </c:pt>
                </c:lvl>
              </c:multiLvlStrCache>
            </c:multiLvlStrRef>
          </c:cat>
          <c:val>
            <c:numRef>
              <c:f>Sheet1!$P$2:$P$4</c:f>
              <c:numCache>
                <c:formatCode>General</c:formatCode>
                <c:ptCount val="3"/>
                <c:pt idx="1">
                  <c:v>6.4316</c:v>
                </c:pt>
              </c:numCache>
            </c:numRef>
          </c:val>
          <c:smooth val="0"/>
          <c:extLst>
            <c:ext xmlns:c16="http://schemas.microsoft.com/office/drawing/2014/chart" uri="{C3380CC4-5D6E-409C-BE32-E72D297353CC}">
              <c16:uniqueId val="{0000002B-47B4-4CC0-A4CC-244654BFF3D5}"/>
            </c:ext>
          </c:extLst>
        </c:ser>
        <c:ser>
          <c:idx val="16"/>
          <c:order val="14"/>
          <c:tx>
            <c:strRef>
              <c:f>Sheet1!$Q$1</c:f>
              <c:strCache>
                <c:ptCount val="1"/>
                <c:pt idx="0">
                  <c:v>8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Disposables</c:v>
                  </c:pt>
                  <c:pt idx="1">
                    <c:v>Disposables</c:v>
                  </c:pt>
                  <c:pt idx="2">
                    <c:v>Disposables</c:v>
                  </c:pt>
                </c:lvl>
                <c:lvl>
                  <c:pt idx="0">
                    <c:v>Gillette</c:v>
                  </c:pt>
                  <c:pt idx="1">
                    <c:v>Schick</c:v>
                  </c:pt>
                  <c:pt idx="2">
                    <c:v>Equate</c:v>
                  </c:pt>
                </c:lvl>
              </c:multiLvlStrCache>
            </c:multiLvlStrRef>
          </c:cat>
          <c:val>
            <c:numRef>
              <c:f>Sheet1!$Q$2:$Q$4</c:f>
              <c:numCache>
                <c:formatCode>General</c:formatCode>
                <c:ptCount val="3"/>
                <c:pt idx="1">
                  <c:v>11.3234</c:v>
                </c:pt>
                <c:pt idx="2">
                  <c:v>5.9797</c:v>
                </c:pt>
              </c:numCache>
            </c:numRef>
          </c:val>
          <c:smooth val="0"/>
          <c:extLst>
            <c:ext xmlns:c16="http://schemas.microsoft.com/office/drawing/2014/chart" uri="{C3380CC4-5D6E-409C-BE32-E72D297353CC}">
              <c16:uniqueId val="{0000002B-47B4-4CC0-A4CC-244654BFF3D5}"/>
            </c:ext>
          </c:extLst>
        </c:ser>
        <c:ser>
          <c:idx val="17"/>
          <c:order val="15"/>
          <c:tx>
            <c:strRef>
              <c:f>Sheet1!$R$1</c:f>
              <c:strCache>
                <c:ptCount val="1"/>
                <c:pt idx="0">
                  <c:v>9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Disposables</c:v>
                  </c:pt>
                  <c:pt idx="1">
                    <c:v>Disposables</c:v>
                  </c:pt>
                  <c:pt idx="2">
                    <c:v>Disposables</c:v>
                  </c:pt>
                </c:lvl>
                <c:lvl>
                  <c:pt idx="0">
                    <c:v>Gillette</c:v>
                  </c:pt>
                  <c:pt idx="1">
                    <c:v>Schick</c:v>
                  </c:pt>
                  <c:pt idx="2">
                    <c:v>Equate</c:v>
                  </c:pt>
                </c:lvl>
              </c:multiLvlStrCache>
            </c:multiLvlStrRef>
          </c:cat>
          <c:val>
            <c:numRef>
              <c:f>Sheet1!$R$2:$R$4</c:f>
              <c:numCache>
                <c:formatCode>General</c:formatCode>
                <c:ptCount val="3"/>
                <c:pt idx="1">
                  <c:v>21.2495</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Disposables</c:v>
                  </c:pt>
                  <c:pt idx="1">
                    <c:v>Disposables</c:v>
                  </c:pt>
                  <c:pt idx="2">
                    <c:v>Disposables</c:v>
                  </c:pt>
                </c:lvl>
                <c:lvl>
                  <c:pt idx="0">
                    <c:v>Gillette</c:v>
                  </c:pt>
                  <c:pt idx="1">
                    <c:v>Schick</c:v>
                  </c:pt>
                  <c:pt idx="2">
                    <c:v>Equate</c:v>
                  </c:pt>
                </c:lvl>
              </c:multiLvlStrCache>
            </c:multiLvlStrRef>
          </c:cat>
          <c:val>
            <c:numRef>
              <c:f>Sheet1!$C$2:$C$4</c:f>
              <c:numCache>
                <c:formatCode>General</c:formatCode>
                <c:ptCount val="3"/>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4</c:f>
              <c:multiLvlStrCache>
                <c:ptCount val="3"/>
                <c:lvl>
                  <c:pt idx="0">
                    <c:v>Disposables</c:v>
                  </c:pt>
                  <c:pt idx="1">
                    <c:v>Disposables</c:v>
                  </c:pt>
                  <c:pt idx="2">
                    <c:v>Disposables</c:v>
                  </c:pt>
                </c:lvl>
                <c:lvl>
                  <c:pt idx="0">
                    <c:v>Gillette</c:v>
                  </c:pt>
                  <c:pt idx="1">
                    <c:v>Schick</c:v>
                  </c:pt>
                  <c:pt idx="2">
                    <c:v>Equate</c:v>
                  </c:pt>
                </c:lvl>
              </c:multiLvlStrCache>
            </c:multiLvlStrRef>
          </c:cat>
          <c:val>
            <c:numRef>
              <c:f>Sheet1!$D$2:$D$4</c:f>
              <c:numCache>
                <c:formatCode>General</c:formatCode>
                <c:ptCount val="3"/>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6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Disposables</c:v>
                  </c:pt>
                  <c:pt idx="1">
                    <c:v>Disposables</c:v>
                  </c:pt>
                  <c:pt idx="2">
                    <c:v>Disposables</c:v>
                  </c:pt>
                </c:lvl>
                <c:lvl>
                  <c:pt idx="0">
                    <c:v>Gillette</c:v>
                  </c:pt>
                  <c:pt idx="1">
                    <c:v>Schick</c:v>
                  </c:pt>
                  <c:pt idx="2">
                    <c:v>Equate</c:v>
                  </c:pt>
                </c:lvl>
              </c:multiLvlStrCache>
            </c:multiLvlStrRef>
          </c:cat>
          <c:val>
            <c:numRef>
              <c:f>Sheet1!$E$2:$E$4</c:f>
              <c:numCache>
                <c:formatCode>General</c:formatCode>
                <c:ptCount val="3"/>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Disposables</c:v>
                  </c:pt>
                  <c:pt idx="1">
                    <c:v>Disposables</c:v>
                  </c:pt>
                  <c:pt idx="2">
                    <c:v>Disposables</c:v>
                  </c:pt>
                </c:lvl>
                <c:lvl>
                  <c:pt idx="0">
                    <c:v>Gillette</c:v>
                  </c:pt>
                  <c:pt idx="1">
                    <c:v>Schick</c:v>
                  </c:pt>
                  <c:pt idx="2">
                    <c:v>Equate</c:v>
                  </c:pt>
                </c:lvl>
              </c:multiLvlStrCache>
            </c:multiLvlStrRef>
          </c:cat>
          <c:val>
            <c:numRef>
              <c:f>Sheet1!$F$2:$F$4</c:f>
              <c:numCache>
                <c:formatCode>General</c:formatCode>
                <c:ptCount val="3"/>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20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4</c:f>
              <c:multiLvlStrCache>
                <c:ptCount val="3"/>
                <c:lvl>
                  <c:pt idx="0">
                    <c:v>Disposables</c:v>
                  </c:pt>
                  <c:pt idx="1">
                    <c:v>Disposables</c:v>
                  </c:pt>
                  <c:pt idx="2">
                    <c:v>Disposables</c:v>
                  </c:pt>
                </c:lvl>
                <c:lvl>
                  <c:pt idx="0">
                    <c:v>Gillette</c:v>
                  </c:pt>
                  <c:pt idx="1">
                    <c:v>Schick</c:v>
                  </c:pt>
                  <c:pt idx="2">
                    <c:v>Equate</c:v>
                  </c:pt>
                </c:lvl>
              </c:multiLvlStrCache>
            </c:multiLvlStrRef>
          </c:cat>
          <c:val>
            <c:numRef>
              <c:f>Sheet1!$G$2:$G$4</c:f>
              <c:numCache>
                <c:formatCode>General</c:formatCode>
                <c:ptCount val="3"/>
                <c:pt idx="1">
                  <c:v>18.1376</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24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Disposables</c:v>
                  </c:pt>
                  <c:pt idx="1">
                    <c:v>Disposables</c:v>
                  </c:pt>
                  <c:pt idx="2">
                    <c:v>Disposables</c:v>
                  </c:pt>
                </c:lvl>
                <c:lvl>
                  <c:pt idx="0">
                    <c:v>Gillette</c:v>
                  </c:pt>
                  <c:pt idx="1">
                    <c:v>Schick</c:v>
                  </c:pt>
                  <c:pt idx="2">
                    <c:v>Equate</c:v>
                  </c:pt>
                </c:lvl>
              </c:multiLvlStrCache>
            </c:multiLvlStrRef>
          </c:cat>
          <c:val>
            <c:numRef>
              <c:f>Sheet1!$H$2:$H$4</c:f>
              <c:numCache>
                <c:formatCode>General</c:formatCode>
                <c:ptCount val="3"/>
                <c:pt idx="0">
                  <c:v>22.1711</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25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Disposables</c:v>
                  </c:pt>
                  <c:pt idx="1">
                    <c:v>Disposables</c:v>
                  </c:pt>
                  <c:pt idx="2">
                    <c:v>Disposables</c:v>
                  </c:pt>
                </c:lvl>
                <c:lvl>
                  <c:pt idx="0">
                    <c:v>Gillette</c:v>
                  </c:pt>
                  <c:pt idx="1">
                    <c:v>Schick</c:v>
                  </c:pt>
                  <c:pt idx="2">
                    <c:v>Equate</c:v>
                  </c:pt>
                </c:lvl>
              </c:multiLvlStrCache>
            </c:multiLvlStrRef>
          </c:cat>
          <c:val>
            <c:numRef>
              <c:f>Sheet1!$I$2:$I$4</c:f>
              <c:numCache>
                <c:formatCode>General</c:formatCode>
                <c:ptCount val="3"/>
                <c:pt idx="1">
                  <c:v>21.7527</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CT</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Disposables</c:v>
                  </c:pt>
                  <c:pt idx="1">
                    <c:v>Disposables</c:v>
                  </c:pt>
                  <c:pt idx="2">
                    <c:v>Disposables</c:v>
                  </c:pt>
                </c:lvl>
                <c:lvl>
                  <c:pt idx="0">
                    <c:v>Gillette</c:v>
                  </c:pt>
                  <c:pt idx="1">
                    <c:v>Schick</c:v>
                  </c:pt>
                  <c:pt idx="2">
                    <c:v>Equate</c:v>
                  </c:pt>
                </c:lvl>
              </c:multiLvlStrCache>
            </c:multiLvlStrRef>
          </c:cat>
          <c:val>
            <c:numRef>
              <c:f>Sheet1!$J$2:$J$4</c:f>
              <c:numCache>
                <c:formatCode>General</c:formatCode>
                <c:ptCount val="3"/>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3CT</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Disposables</c:v>
                  </c:pt>
                  <c:pt idx="1">
                    <c:v>Disposables</c:v>
                  </c:pt>
                  <c:pt idx="2">
                    <c:v>Disposables</c:v>
                  </c:pt>
                </c:lvl>
                <c:lvl>
                  <c:pt idx="0">
                    <c:v>Gillette</c:v>
                  </c:pt>
                  <c:pt idx="1">
                    <c:v>Schick</c:v>
                  </c:pt>
                  <c:pt idx="2">
                    <c:v>Equate</c:v>
                  </c:pt>
                </c:lvl>
              </c:multiLvlStrCache>
            </c:multiLvlStrRef>
          </c:cat>
          <c:val>
            <c:numRef>
              <c:f>Sheet1!$K$2:$K$4</c:f>
              <c:numCache>
                <c:formatCode>General</c:formatCode>
                <c:ptCount val="3"/>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4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4</c:f>
              <c:multiLvlStrCache>
                <c:ptCount val="3"/>
                <c:lvl>
                  <c:pt idx="0">
                    <c:v>Disposables</c:v>
                  </c:pt>
                  <c:pt idx="1">
                    <c:v>Disposables</c:v>
                  </c:pt>
                  <c:pt idx="2">
                    <c:v>Disposables</c:v>
                  </c:pt>
                </c:lvl>
                <c:lvl>
                  <c:pt idx="0">
                    <c:v>Gillette</c:v>
                  </c:pt>
                  <c:pt idx="1">
                    <c:v>Schick</c:v>
                  </c:pt>
                  <c:pt idx="2">
                    <c:v>Equate</c:v>
                  </c:pt>
                </c:lvl>
              </c:multiLvlStrCache>
            </c:multiLvlStrRef>
          </c:cat>
          <c:val>
            <c:numRef>
              <c:f>Sheet1!$L$2:$L$4</c:f>
              <c:numCache>
                <c:formatCode>General</c:formatCode>
                <c:ptCount val="3"/>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5CT</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Disposables</c:v>
                  </c:pt>
                  <c:pt idx="1">
                    <c:v>Disposables</c:v>
                  </c:pt>
                  <c:pt idx="2">
                    <c:v>Disposables</c:v>
                  </c:pt>
                </c:lvl>
                <c:lvl>
                  <c:pt idx="0">
                    <c:v>Gillette</c:v>
                  </c:pt>
                  <c:pt idx="1">
                    <c:v>Schick</c:v>
                  </c:pt>
                  <c:pt idx="2">
                    <c:v>Equate</c:v>
                  </c:pt>
                </c:lvl>
              </c:multiLvlStrCache>
            </c:multiLvlStrRef>
          </c:cat>
          <c:val>
            <c:numRef>
              <c:f>Sheet1!$M$2:$M$4</c:f>
              <c:numCache>
                <c:formatCode>General</c:formatCode>
                <c:ptCount val="3"/>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6CT</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Disposables</c:v>
                  </c:pt>
                  <c:pt idx="1">
                    <c:v>Disposables</c:v>
                  </c:pt>
                  <c:pt idx="2">
                    <c:v>Disposables</c:v>
                  </c:pt>
                </c:lvl>
                <c:lvl>
                  <c:pt idx="0">
                    <c:v>Gillette</c:v>
                  </c:pt>
                  <c:pt idx="1">
                    <c:v>Schick</c:v>
                  </c:pt>
                  <c:pt idx="2">
                    <c:v>Equate</c:v>
                  </c:pt>
                </c:lvl>
              </c:multiLvlStrCache>
            </c:multiLvlStrRef>
          </c:cat>
          <c:val>
            <c:numRef>
              <c:f>Sheet1!$N$2:$N$4</c:f>
              <c:numCache>
                <c:formatCode>General</c:formatCode>
                <c:ptCount val="3"/>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8CT</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4</c:f>
              <c:multiLvlStrCache>
                <c:ptCount val="3"/>
                <c:lvl>
                  <c:pt idx="0">
                    <c:v>Disposables</c:v>
                  </c:pt>
                  <c:pt idx="1">
                    <c:v>Disposables</c:v>
                  </c:pt>
                  <c:pt idx="2">
                    <c:v>Disposables</c:v>
                  </c:pt>
                </c:lvl>
                <c:lvl>
                  <c:pt idx="0">
                    <c:v>Gillette</c:v>
                  </c:pt>
                  <c:pt idx="1">
                    <c:v>Schick</c:v>
                  </c:pt>
                  <c:pt idx="2">
                    <c:v>Equate</c:v>
                  </c:pt>
                </c:lvl>
              </c:multiLvlStrCache>
            </c:multiLvlStrRef>
          </c:cat>
          <c:val>
            <c:numRef>
              <c:f>Sheet1!$O$2:$O$4</c:f>
              <c:numCache>
                <c:formatCode>General</c:formatCode>
                <c:ptCount val="3"/>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9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Disposables</c:v>
                  </c:pt>
                  <c:pt idx="1">
                    <c:v>Disposables</c:v>
                  </c:pt>
                  <c:pt idx="2">
                    <c:v>Disposables</c:v>
                  </c:pt>
                </c:lvl>
                <c:lvl>
                  <c:pt idx="0">
                    <c:v>Gillette</c:v>
                  </c:pt>
                  <c:pt idx="1">
                    <c:v>Schick</c:v>
                  </c:pt>
                  <c:pt idx="2">
                    <c:v>Equate</c:v>
                  </c:pt>
                </c:lvl>
              </c:multiLvlStrCache>
            </c:multiLvlStrRef>
          </c:cat>
          <c:val>
            <c:numRef>
              <c:f>Sheet1!$P$2:$P$4</c:f>
              <c:numCache>
                <c:formatCode>General</c:formatCode>
                <c:ptCount val="3"/>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Disposables</c:v>
                  </c:pt>
                  <c:pt idx="1">
                    <c:v>Disposables</c:v>
                  </c:pt>
                  <c:pt idx="2">
                    <c:v>Disposables</c:v>
                  </c:pt>
                </c:lvl>
                <c:lvl>
                  <c:pt idx="0">
                    <c:v>Gillette</c:v>
                  </c:pt>
                  <c:pt idx="1">
                    <c:v>Equate</c:v>
                  </c:pt>
                  <c:pt idx="2">
                    <c:v>Schick</c:v>
                  </c:pt>
                </c:lvl>
              </c:multiLvlStrCache>
            </c:multiLvlStrRef>
          </c:cat>
          <c:val>
            <c:numRef>
              <c:f>Sheet1!$C$2:$C$4</c:f>
              <c:numCache>
                <c:formatCode>General</c:formatCode>
                <c:ptCount val="3"/>
                <c:pt idx="2">
                  <c:v>4.4375</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4</c:f>
              <c:multiLvlStrCache>
                <c:ptCount val="3"/>
                <c:lvl>
                  <c:pt idx="0">
                    <c:v>Disposables</c:v>
                  </c:pt>
                  <c:pt idx="1">
                    <c:v>Disposables</c:v>
                  </c:pt>
                  <c:pt idx="2">
                    <c:v>Disposables</c:v>
                  </c:pt>
                </c:lvl>
                <c:lvl>
                  <c:pt idx="0">
                    <c:v>Gillette</c:v>
                  </c:pt>
                  <c:pt idx="1">
                    <c:v>Equate</c:v>
                  </c:pt>
                  <c:pt idx="2">
                    <c:v>Schick</c:v>
                  </c:pt>
                </c:lvl>
              </c:multiLvlStrCache>
            </c:multiLvlStrRef>
          </c:cat>
          <c:val>
            <c:numRef>
              <c:f>Sheet1!$D$2:$D$4</c:f>
              <c:numCache>
                <c:formatCode>General</c:formatCode>
                <c:ptCount val="3"/>
                <c:pt idx="1">
                  <c:v>2.1773</c:v>
                </c:pt>
                <c:pt idx="2">
                  <c:v>8.4824</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6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Disposables</c:v>
                  </c:pt>
                  <c:pt idx="1">
                    <c:v>Disposables</c:v>
                  </c:pt>
                  <c:pt idx="2">
                    <c:v>Disposables</c:v>
                  </c:pt>
                </c:lvl>
                <c:lvl>
                  <c:pt idx="0">
                    <c:v>Gillette</c:v>
                  </c:pt>
                  <c:pt idx="1">
                    <c:v>Equate</c:v>
                  </c:pt>
                  <c:pt idx="2">
                    <c:v>Schick</c:v>
                  </c:pt>
                </c:lvl>
              </c:multiLvlStrCache>
            </c:multiLvlStrRef>
          </c:cat>
          <c:val>
            <c:numRef>
              <c:f>Sheet1!$E$2:$E$4</c:f>
              <c:numCache>
                <c:formatCode>General</c:formatCode>
                <c:ptCount val="3"/>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8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Disposables</c:v>
                  </c:pt>
                  <c:pt idx="1">
                    <c:v>Disposables</c:v>
                  </c:pt>
                  <c:pt idx="2">
                    <c:v>Disposables</c:v>
                  </c:pt>
                </c:lvl>
                <c:lvl>
                  <c:pt idx="0">
                    <c:v>Gillette</c:v>
                  </c:pt>
                  <c:pt idx="1">
                    <c:v>Equate</c:v>
                  </c:pt>
                  <c:pt idx="2">
                    <c:v>Schick</c:v>
                  </c:pt>
                </c:lvl>
              </c:multiLvlStrCache>
            </c:multiLvlStrRef>
          </c:cat>
          <c:val>
            <c:numRef>
              <c:f>Sheet1!$F$2:$F$4</c:f>
              <c:numCache>
                <c:formatCode>General</c:formatCode>
                <c:ptCount val="3"/>
                <c:pt idx="0">
                  <c:v>14.9922</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4</c:f>
              <c:multiLvlStrCache>
                <c:ptCount val="3"/>
                <c:lvl>
                  <c:pt idx="0">
                    <c:v>Disposables</c:v>
                  </c:pt>
                  <c:pt idx="1">
                    <c:v>Disposables</c:v>
                  </c:pt>
                  <c:pt idx="2">
                    <c:v>Disposables</c:v>
                  </c:pt>
                </c:lvl>
                <c:lvl>
                  <c:pt idx="0">
                    <c:v>Gillette</c:v>
                  </c:pt>
                  <c:pt idx="1">
                    <c:v>Equate</c:v>
                  </c:pt>
                  <c:pt idx="2">
                    <c:v>Schick</c:v>
                  </c:pt>
                </c:lvl>
              </c:multiLvlStrCache>
            </c:multiLvlStrRef>
          </c:cat>
          <c:val>
            <c:numRef>
              <c:f>Sheet1!$G$2:$G$4</c:f>
              <c:numCache>
                <c:formatCode>General</c:formatCode>
                <c:ptCount val="3"/>
                <c:pt idx="2">
                  <c:v>0.794</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20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Disposables</c:v>
                  </c:pt>
                  <c:pt idx="1">
                    <c:v>Disposables</c:v>
                  </c:pt>
                  <c:pt idx="2">
                    <c:v>Disposables</c:v>
                  </c:pt>
                </c:lvl>
                <c:lvl>
                  <c:pt idx="0">
                    <c:v>Gillette</c:v>
                  </c:pt>
                  <c:pt idx="1">
                    <c:v>Equate</c:v>
                  </c:pt>
                  <c:pt idx="2">
                    <c:v>Schick</c:v>
                  </c:pt>
                </c:lvl>
              </c:multiLvlStrCache>
            </c:multiLvlStrRef>
          </c:cat>
          <c:val>
            <c:numRef>
              <c:f>Sheet1!$H$2:$H$4</c:f>
              <c:numCache>
                <c:formatCode>General</c:formatCode>
                <c:ptCount val="3"/>
                <c:pt idx="2">
                  <c:v>25.0</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21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Disposables</c:v>
                  </c:pt>
                  <c:pt idx="1">
                    <c:v>Disposables</c:v>
                  </c:pt>
                  <c:pt idx="2">
                    <c:v>Disposables</c:v>
                  </c:pt>
                </c:lvl>
                <c:lvl>
                  <c:pt idx="0">
                    <c:v>Gillette</c:v>
                  </c:pt>
                  <c:pt idx="1">
                    <c:v>Equate</c:v>
                  </c:pt>
                  <c:pt idx="2">
                    <c:v>Schick</c:v>
                  </c:pt>
                </c:lvl>
              </c:multiLvlStrCache>
            </c:multiLvlStrRef>
          </c:cat>
          <c:val>
            <c:numRef>
              <c:f>Sheet1!$I$2:$I$4</c:f>
              <c:numCache>
                <c:formatCode>General</c:formatCode>
                <c:ptCount val="3"/>
                <c:pt idx="0">
                  <c:v>20.06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5CT</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Disposables</c:v>
                  </c:pt>
                  <c:pt idx="1">
                    <c:v>Disposables</c:v>
                  </c:pt>
                  <c:pt idx="2">
                    <c:v>Disposables</c:v>
                  </c:pt>
                </c:lvl>
                <c:lvl>
                  <c:pt idx="0">
                    <c:v>Gillette</c:v>
                  </c:pt>
                  <c:pt idx="1">
                    <c:v>Equate</c:v>
                  </c:pt>
                  <c:pt idx="2">
                    <c:v>Schick</c:v>
                  </c:pt>
                </c:lvl>
              </c:multiLvlStrCache>
            </c:multiLvlStrRef>
          </c:cat>
          <c:val>
            <c:numRef>
              <c:f>Sheet1!$J$2:$J$4</c:f>
              <c:numCache>
                <c:formatCode>General</c:formatCode>
                <c:ptCount val="3"/>
                <c:pt idx="0">
                  <c:v>19.9609</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CT</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Disposables</c:v>
                  </c:pt>
                  <c:pt idx="1">
                    <c:v>Disposables</c:v>
                  </c:pt>
                  <c:pt idx="2">
                    <c:v>Disposables</c:v>
                  </c:pt>
                </c:lvl>
                <c:lvl>
                  <c:pt idx="0">
                    <c:v>Gillette</c:v>
                  </c:pt>
                  <c:pt idx="1">
                    <c:v>Equate</c:v>
                  </c:pt>
                  <c:pt idx="2">
                    <c:v>Schick</c:v>
                  </c:pt>
                </c:lvl>
              </c:multiLvlStrCache>
            </c:multiLvlStrRef>
          </c:cat>
          <c:val>
            <c:numRef>
              <c:f>Sheet1!$K$2:$K$4</c:f>
              <c:numCache>
                <c:formatCode>General</c:formatCode>
                <c:ptCount val="3"/>
                <c:pt idx="1">
                  <c:v>1.937</c:v>
                </c:pt>
                <c:pt idx="2">
                  <c:v>2.5</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3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4</c:f>
              <c:multiLvlStrCache>
                <c:ptCount val="3"/>
                <c:lvl>
                  <c:pt idx="0">
                    <c:v>Disposables</c:v>
                  </c:pt>
                  <c:pt idx="1">
                    <c:v>Disposables</c:v>
                  </c:pt>
                  <c:pt idx="2">
                    <c:v>Disposables</c:v>
                  </c:pt>
                </c:lvl>
                <c:lvl>
                  <c:pt idx="0">
                    <c:v>Gillette</c:v>
                  </c:pt>
                  <c:pt idx="1">
                    <c:v>Equate</c:v>
                  </c:pt>
                  <c:pt idx="2">
                    <c:v>Schick</c:v>
                  </c:pt>
                </c:lvl>
              </c:multiLvlStrCache>
            </c:multiLvlStrRef>
          </c:cat>
          <c:val>
            <c:numRef>
              <c:f>Sheet1!$L$2:$L$4</c:f>
              <c:numCache>
                <c:formatCode>General</c:formatCode>
                <c:ptCount val="3"/>
                <c:pt idx="1">
                  <c:v>5.0484</c:v>
                </c:pt>
                <c:pt idx="2">
                  <c:v>3.8235</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4CT</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Disposables</c:v>
                  </c:pt>
                  <c:pt idx="1">
                    <c:v>Disposables</c:v>
                  </c:pt>
                  <c:pt idx="2">
                    <c:v>Disposables</c:v>
                  </c:pt>
                </c:lvl>
                <c:lvl>
                  <c:pt idx="0">
                    <c:v>Gillette</c:v>
                  </c:pt>
                  <c:pt idx="1">
                    <c:v>Equate</c:v>
                  </c:pt>
                  <c:pt idx="2">
                    <c:v>Schick</c:v>
                  </c:pt>
                </c:lvl>
              </c:multiLvlStrCache>
            </c:multiLvlStrRef>
          </c:cat>
          <c:val>
            <c:numRef>
              <c:f>Sheet1!$M$2:$M$4</c:f>
              <c:numCache>
                <c:formatCode>General</c:formatCode>
                <c:ptCount val="3"/>
                <c:pt idx="1">
                  <c:v>3.972</c:v>
                </c:pt>
                <c:pt idx="2">
                  <c:v>6.4918</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5CT</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Disposables</c:v>
                  </c:pt>
                  <c:pt idx="1">
                    <c:v>Disposables</c:v>
                  </c:pt>
                  <c:pt idx="2">
                    <c:v>Disposables</c:v>
                  </c:pt>
                </c:lvl>
                <c:lvl>
                  <c:pt idx="0">
                    <c:v>Gillette</c:v>
                  </c:pt>
                  <c:pt idx="1">
                    <c:v>Equate</c:v>
                  </c:pt>
                  <c:pt idx="2">
                    <c:v>Schick</c:v>
                  </c:pt>
                </c:lvl>
              </c:multiLvlStrCache>
            </c:multiLvlStrRef>
          </c:cat>
          <c:val>
            <c:numRef>
              <c:f>Sheet1!$N$2:$N$4</c:f>
              <c:numCache>
                <c:formatCode>General</c:formatCode>
                <c:ptCount val="3"/>
                <c:pt idx="1">
                  <c:v>1.0034</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6CT</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4</c:f>
              <c:multiLvlStrCache>
                <c:ptCount val="3"/>
                <c:lvl>
                  <c:pt idx="0">
                    <c:v>Disposables</c:v>
                  </c:pt>
                  <c:pt idx="1">
                    <c:v>Disposables</c:v>
                  </c:pt>
                  <c:pt idx="2">
                    <c:v>Disposables</c:v>
                  </c:pt>
                </c:lvl>
                <c:lvl>
                  <c:pt idx="0">
                    <c:v>Gillette</c:v>
                  </c:pt>
                  <c:pt idx="1">
                    <c:v>Equate</c:v>
                  </c:pt>
                  <c:pt idx="2">
                    <c:v>Schick</c:v>
                  </c:pt>
                </c:lvl>
              </c:multiLvlStrCache>
            </c:multiLvlStrRef>
          </c:cat>
          <c:val>
            <c:numRef>
              <c:f>Sheet1!$O$2:$O$4</c:f>
              <c:numCache>
                <c:formatCode>General</c:formatCode>
                <c:ptCount val="3"/>
                <c:pt idx="2">
                  <c:v>5.6071</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8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Disposables</c:v>
                  </c:pt>
                  <c:pt idx="1">
                    <c:v>Disposables</c:v>
                  </c:pt>
                  <c:pt idx="2">
                    <c:v>Disposables</c:v>
                  </c:pt>
                </c:lvl>
                <c:lvl>
                  <c:pt idx="0">
                    <c:v>Gillette</c:v>
                  </c:pt>
                  <c:pt idx="1">
                    <c:v>Equate</c:v>
                  </c:pt>
                  <c:pt idx="2">
                    <c:v>Schick</c:v>
                  </c:pt>
                </c:lvl>
              </c:multiLvlStrCache>
            </c:multiLvlStrRef>
          </c:cat>
          <c:val>
            <c:numRef>
              <c:f>Sheet1!$P$2:$P$4</c:f>
              <c:numCache>
                <c:formatCode>General</c:formatCode>
                <c:ptCount val="3"/>
                <c:pt idx="1">
                  <c:v>5.9797</c:v>
                </c:pt>
                <c:pt idx="2">
                  <c:v>10.5602</c:v>
                </c:pt>
              </c:numCache>
            </c:numRef>
          </c:val>
          <c:smooth val="0"/>
          <c:extLst>
            <c:ext xmlns:c16="http://schemas.microsoft.com/office/drawing/2014/chart" uri="{C3380CC4-5D6E-409C-BE32-E72D297353CC}">
              <c16:uniqueId val="{0000002B-47B4-4CC0-A4CC-244654BFF3D5}"/>
            </c:ext>
          </c:extLst>
        </c:ser>
        <c:ser>
          <c:idx val="16"/>
          <c:order val="14"/>
          <c:tx>
            <c:strRef>
              <c:f>Sheet1!$Q$1</c:f>
              <c:strCache>
                <c:ptCount val="1"/>
                <c:pt idx="0">
                  <c:v>9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Disposables</c:v>
                  </c:pt>
                  <c:pt idx="1">
                    <c:v>Disposables</c:v>
                  </c:pt>
                  <c:pt idx="2">
                    <c:v>Disposables</c:v>
                  </c:pt>
                </c:lvl>
                <c:lvl>
                  <c:pt idx="0">
                    <c:v>Gillette</c:v>
                  </c:pt>
                  <c:pt idx="1">
                    <c:v>Equate</c:v>
                  </c:pt>
                  <c:pt idx="2">
                    <c:v>Schick</c:v>
                  </c:pt>
                </c:lvl>
              </c:multiLvlStrCache>
            </c:multiLvlStrRef>
          </c:cat>
          <c:val>
            <c:numRef>
              <c:f>Sheet1!$Q$2:$Q$4</c:f>
              <c:numCache>
                <c:formatCode>General</c:formatCode>
                <c:ptCount val="3"/>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5.22</a:t>
                    </a:r>
                  </a:p>
                </c:rich>
              </c:tx>
              <c:dLblPos val="t"/>
              <c:showLegendKey val="0"/>
              <c:showVal val="1"/>
              <c:showCatName val="0"/>
              <c:showSerName val="0"/>
              <c:showPercent val="0"/>
              <c:showBubbleSize val="0"/>
            </c:dLbl>
            <c:dLbl>
              <c:idx val="1"/>
              <c:tx>
                <c:rich>
                  <a:bodyPr/>
                  <a:lstStyle/>
                  <a:p>
                    <a:r>
                      <a:t>26.91</a:t>
                    </a:r>
                  </a:p>
                </c:rich>
              </c:tx>
              <c:dLblPos val="t"/>
              <c:showLegendKey val="0"/>
              <c:showVal val="1"/>
              <c:showCatName val="0"/>
              <c:showSerName val="0"/>
              <c:showPercent val="0"/>
              <c:showBubbleSize val="0"/>
            </c:dLbl>
            <c:dLbl>
              <c:idx val="2"/>
              <c:tx>
                <c:rich>
                  <a:bodyPr/>
                  <a:lstStyle/>
                  <a:p>
                    <a:r>
                      <a:t>16.88</a:t>
                    </a:r>
                  </a:p>
                </c:rich>
              </c:tx>
              <c:dLblPos val="t"/>
              <c:showLegendKey val="0"/>
              <c:showVal val="1"/>
              <c:showCatName val="0"/>
              <c:showSerName val="0"/>
              <c:showPercent val="0"/>
              <c:showBubbleSize val="0"/>
            </c:dLbl>
            <c:dLbl>
              <c:idx val="3"/>
              <c:tx>
                <c:rich>
                  <a:bodyPr/>
                  <a:lstStyle/>
                  <a:p>
                    <a:r>
                      <a:t>13.58</a:t>
                    </a:r>
                  </a:p>
                </c:rich>
              </c:tx>
              <c:dLblPos val="t"/>
              <c:showLegendKey val="0"/>
              <c:showVal val="1"/>
              <c:showCatName val="0"/>
              <c:showSerName val="0"/>
              <c:showPercent val="0"/>
              <c:showBubbleSize val="0"/>
            </c:dLbl>
            <c:dLbl>
              <c:idx val="4"/>
              <c:tx>
                <c:rich>
                  <a:bodyPr/>
                  <a:lstStyle/>
                  <a:p>
                    <a:r>
                      <a:t>23.94</a:t>
                    </a:r>
                  </a:p>
                </c:rich>
              </c:tx>
              <c:dLblPos val="t"/>
              <c:showLegendKey val="0"/>
              <c:showVal val="1"/>
              <c:showCatName val="0"/>
              <c:showSerName val="0"/>
              <c:showPercent val="0"/>
              <c:showBubbleSize val="0"/>
            </c:dLbl>
            <c:dLbl>
              <c:idx val="5"/>
              <c:tx>
                <c:rich>
                  <a:bodyPr/>
                  <a:lstStyle/>
                  <a:p>
                    <a:r>
                      <a:t>12.68</a:t>
                    </a:r>
                  </a:p>
                </c:rich>
              </c:tx>
              <c:dLblPos val="t"/>
              <c:showLegendKey val="0"/>
              <c:showVal val="1"/>
              <c:showCatName val="0"/>
              <c:showSerName val="0"/>
              <c:showPercent val="0"/>
              <c:showBubbleSize val="0"/>
            </c:dLbl>
            <c:dLbl>
              <c:idx val="6"/>
              <c:tx>
                <c:rich>
                  <a:bodyPr/>
                  <a:lstStyle/>
                  <a:p>
                    <a:r>
                      <a:t>21.73</a:t>
                    </a:r>
                  </a:p>
                </c:rich>
              </c:tx>
              <c:dLblPos val="t"/>
              <c:showLegendKey val="0"/>
              <c:showVal val="1"/>
              <c:showCatName val="0"/>
              <c:showSerName val="0"/>
              <c:showPercent val="0"/>
              <c:showBubbleSize val="0"/>
            </c:dLbl>
            <c:dLbl>
              <c:idx val="7"/>
              <c:tx>
                <c:rich>
                  <a:bodyPr/>
                  <a:lstStyle/>
                  <a:p>
                    <a:r>
                      <a:t>38.98</a:t>
                    </a:r>
                  </a:p>
                </c:rich>
              </c:tx>
              <c:dLblPos val="t"/>
              <c:showLegendKey val="0"/>
              <c:showVal val="1"/>
              <c:showCatName val="0"/>
              <c:showSerName val="0"/>
              <c:showPercent val="0"/>
              <c:showBubbleSize val="0"/>
            </c:dLbl>
            <c:dLbl>
              <c:idx val="8"/>
              <c:tx>
                <c:rich>
                  <a:bodyPr/>
                  <a:lstStyle/>
                  <a:p>
                    <a:r>
                      <a:t>10.59</a:t>
                    </a:r>
                  </a:p>
                </c:rich>
              </c:tx>
              <c:dLblPos val="t"/>
              <c:showLegendKey val="0"/>
              <c:showVal val="1"/>
              <c:showCatName val="0"/>
              <c:showSerName val="0"/>
              <c:showPercent val="0"/>
              <c:showBubbleSize val="0"/>
            </c:dLbl>
            <c:dLbl>
              <c:idx val="9"/>
              <c:tx>
                <c:rich>
                  <a:bodyPr/>
                  <a:lstStyle/>
                  <a:p>
                    <a:r>
                      <a:t>11.67</a:t>
                    </a:r>
                  </a:p>
                </c:rich>
              </c:tx>
              <c:dLblPos val="t"/>
              <c:showLegendKey val="0"/>
              <c:showVal val="1"/>
              <c:showCatName val="0"/>
              <c:showSerName val="0"/>
              <c:showPercent val="0"/>
              <c:showBubbleSize val="0"/>
            </c:dLbl>
            <c:dLbl>
              <c:idx val="10"/>
              <c:tx>
                <c:rich>
                  <a:bodyPr/>
                  <a:lstStyle/>
                  <a:p>
                    <a:r>
                      <a:t>38.77</a:t>
                    </a:r>
                  </a:p>
                </c:rich>
              </c:tx>
              <c:dLblPos val="t"/>
              <c:showLegendKey val="0"/>
              <c:showVal val="1"/>
              <c:showCatName val="0"/>
              <c:showSerName val="0"/>
              <c:showPercent val="0"/>
              <c:showBubbleSize val="0"/>
            </c:dLbl>
            <c:dLbl>
              <c:idx val="11"/>
              <c:tx>
                <c:rich>
                  <a:bodyPr/>
                  <a:lstStyle/>
                  <a:p>
                    <a:r>
                      <a:t>12.0</a:t>
                    </a:r>
                  </a:p>
                </c:rich>
              </c:tx>
              <c:dLblPos val="t"/>
              <c:showLegendKey val="0"/>
              <c:showVal val="1"/>
              <c:showCatName val="0"/>
              <c:showSerName val="0"/>
              <c:showPercent val="0"/>
              <c:showBubbleSize val="0"/>
            </c:dLbl>
            <c:dLbl>
              <c:idx val="12"/>
              <c:tx>
                <c:rich>
                  <a:bodyPr/>
                  <a:lstStyle/>
                  <a:p>
                    <a:r>
                      <a:t>12.71</a:t>
                    </a:r>
                  </a:p>
                </c:rich>
              </c:tx>
              <c:dLblPos val="t"/>
              <c:showLegendKey val="0"/>
              <c:showVal val="1"/>
              <c:showCatName val="0"/>
              <c:showSerName val="0"/>
              <c:showPercent val="0"/>
              <c:showBubbleSize val="0"/>
            </c:dLbl>
            <c:dLbl>
              <c:idx val="13"/>
              <c:tx>
                <c:rich>
                  <a:bodyPr/>
                  <a:lstStyle/>
                  <a:p>
                    <a:r>
                      <a:t>29.23</a:t>
                    </a:r>
                  </a:p>
                </c:rich>
              </c:tx>
              <c:dLblPos val="t"/>
              <c:showLegendKey val="0"/>
              <c:showVal val="1"/>
              <c:showCatName val="0"/>
              <c:showSerName val="0"/>
              <c:showPercent val="0"/>
              <c:showBubbleSize val="0"/>
            </c:dLbl>
            <c:dLbl>
              <c:idx val="14"/>
              <c:tx>
                <c:rich>
                  <a:bodyPr/>
                  <a:lstStyle/>
                  <a:p>
                    <a:r>
                      <a:t>5.0</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HYDRO 5 SENSITIVE 5 BLADE REFILL SENSITIVE 6CT</c:v>
                </c:pt>
                <c:pt idx="1">
                  <c:v>HYDRO 5 SENSITIVE 5 BLADE REFILL SENSITIVE 12CT</c:v>
                </c:pt>
                <c:pt idx="2">
                  <c:v>HYDRO 5 DRY SKIN 5 BLADE REFILL DRY 6CT</c:v>
                </c:pt>
                <c:pt idx="3">
                  <c:v>SCHICK QUATTRO FOR MEN 4 BLADE REFILL NORMAL 8CT</c:v>
                </c:pt>
                <c:pt idx="4">
                  <c:v>SCHICK HYDRO STUBBLE ERASER 5 BLADE REFILL NORMAL 12CT</c:v>
                </c:pt>
                <c:pt idx="5">
                  <c:v>SCHICK HYDRO 3 SENSITIVE 3 BLADE REFILL SENSITIVE 5CT</c:v>
                </c:pt>
                <c:pt idx="6">
                  <c:v>SCHICK HYDRO 3 SENSITIVE 3 BLADE REFILL SENSITIVE 12CT</c:v>
                </c:pt>
                <c:pt idx="7">
                  <c:v>HYDRO 5 DRY SKIN 5 BLADE REFILL DRY 12CT</c:v>
                </c:pt>
                <c:pt idx="8">
                  <c:v>HYDRO 5 SENSITIVE 5 BLADE RAZOR SENSITIVE 3CT</c:v>
                </c:pt>
                <c:pt idx="9">
                  <c:v>HYDRO 5 DRY SKIN 5 BLADE RAZOR DRY 3CT</c:v>
                </c:pt>
                <c:pt idx="10">
                  <c:v>HYDRO 5 SENSITIVE 5 BLADE RAZOR SENSITIVE 17CT</c:v>
                </c:pt>
                <c:pt idx="11">
                  <c:v>SCHICK QUATTRO FOR MEN 4 BLADE RAZOR NORMAL 4CT</c:v>
                </c:pt>
                <c:pt idx="12">
                  <c:v>SCHICK HYDRO 3 SENSITIVE 3 BLADE RAZOR SENSITIVE 4CT</c:v>
                </c:pt>
                <c:pt idx="13">
                  <c:v>SCHICK QUATTRO FOR MEN 4 BLADE RAZOR NORMAL 16CT</c:v>
                </c:pt>
                <c:pt idx="14">
                  <c:v>SCHICK QUATTRO FOR MEN SILVER WHITE 4 BLADE RAZOR NORMAL 1CT</c:v>
                </c:pt>
              </c:strCache>
            </c:strRef>
          </c:cat>
          <c:val>
            <c:numRef>
              <c:f>Sheet1!$B$2:$B$16</c:f>
              <c:numCache>
                <c:formatCode>General</c:formatCode>
                <c:ptCount val="15"/>
                <c:pt idx="0">
                  <c:v>15.22</c:v>
                </c:pt>
                <c:pt idx="1">
                  <c:v>26.91</c:v>
                </c:pt>
                <c:pt idx="2">
                  <c:v>16.88</c:v>
                </c:pt>
                <c:pt idx="3">
                  <c:v>13.58</c:v>
                </c:pt>
                <c:pt idx="4">
                  <c:v>23.94</c:v>
                </c:pt>
                <c:pt idx="5">
                  <c:v>12.68</c:v>
                </c:pt>
                <c:pt idx="6">
                  <c:v>21.73</c:v>
                </c:pt>
                <c:pt idx="7">
                  <c:v>38.98</c:v>
                </c:pt>
                <c:pt idx="8">
                  <c:v>10.59</c:v>
                </c:pt>
                <c:pt idx="9">
                  <c:v>11.67</c:v>
                </c:pt>
                <c:pt idx="10">
                  <c:v>38.77</c:v>
                </c:pt>
                <c:pt idx="11">
                  <c:v>12.0</c:v>
                </c:pt>
                <c:pt idx="12">
                  <c:v>12.71</c:v>
                </c:pt>
                <c:pt idx="13">
                  <c:v>29.23</c:v>
                </c:pt>
                <c:pt idx="14">
                  <c:v>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9</a:t>
                    </a:r>
                  </a:p>
                </c:rich>
              </c:tx>
              <c:dLblPos val="t"/>
              <c:showLegendKey val="0"/>
              <c:showVal val="1"/>
              <c:showCatName val="0"/>
              <c:showSerName val="0"/>
              <c:showPercent val="0"/>
              <c:showBubbleSize val="0"/>
            </c:dLbl>
            <c:dLbl>
              <c:idx val="1"/>
              <c:tx>
                <c:rich>
                  <a:bodyPr/>
                  <a:lstStyle/>
                  <a:p>
                    <a:r>
                      <a:t>15.52</a:t>
                    </a:r>
                  </a:p>
                </c:rich>
              </c:tx>
              <c:dLblPos val="t"/>
              <c:showLegendKey val="0"/>
              <c:showVal val="1"/>
              <c:showCatName val="0"/>
              <c:showSerName val="0"/>
              <c:showPercent val="0"/>
              <c:showBubbleSize val="0"/>
            </c:dLbl>
            <c:dLbl>
              <c:idx val="2"/>
              <c:tx>
                <c:rich>
                  <a:bodyPr/>
                  <a:lstStyle/>
                  <a:p>
                    <a:r>
                      <a:t>16.73</a:t>
                    </a:r>
                  </a:p>
                </c:rich>
              </c:tx>
              <c:dLblPos val="t"/>
              <c:showLegendKey val="0"/>
              <c:showVal val="1"/>
              <c:showCatName val="0"/>
              <c:showSerName val="0"/>
              <c:showPercent val="0"/>
              <c:showBubbleSize val="0"/>
            </c:dLbl>
            <c:dLbl>
              <c:idx val="3"/>
              <c:tx>
                <c:rich>
                  <a:bodyPr/>
                  <a:lstStyle/>
                  <a:p>
                    <a:r>
                      <a:t>10.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REMO 5 BLADE REFILL NORMAL 4CT</c:v>
                </c:pt>
                <c:pt idx="1">
                  <c:v>CREMO 5 BLADE RAZOR NORMAL 2CT</c:v>
                </c:pt>
                <c:pt idx="2">
                  <c:v>CREMO SILVER HOLIDAY GIFT PACK REM BLADES RAZOR 5CT</c:v>
                </c:pt>
                <c:pt idx="3">
                  <c:v>CREMO SILVER HOLIDAY GIFT PACK 5 BLADE RAZOR 5CT</c:v>
                </c:pt>
              </c:strCache>
            </c:strRef>
          </c:cat>
          <c:val>
            <c:numRef>
              <c:f>Sheet1!$B$2:$B$5</c:f>
              <c:numCache>
                <c:formatCode>General</c:formatCode>
                <c:ptCount val="4"/>
                <c:pt idx="0">
                  <c:v>13.9</c:v>
                </c:pt>
                <c:pt idx="1">
                  <c:v>15.52</c:v>
                </c:pt>
                <c:pt idx="2">
                  <c:v>16.73</c:v>
                </c:pt>
                <c:pt idx="3">
                  <c:v>10.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73</a:t>
                    </a:r>
                  </a:p>
                </c:rich>
              </c:tx>
              <c:dLblPos val="t"/>
              <c:showLegendKey val="0"/>
              <c:showVal val="1"/>
              <c:showCatName val="0"/>
              <c:showSerName val="0"/>
              <c:showPercent val="0"/>
              <c:showBubbleSize val="0"/>
            </c:dLbl>
            <c:dLbl>
              <c:idx val="1"/>
              <c:tx>
                <c:rich>
                  <a:bodyPr/>
                  <a:lstStyle/>
                  <a:p>
                    <a:r>
                      <a:t>26.51</a:t>
                    </a:r>
                  </a:p>
                </c:rich>
              </c:tx>
              <c:dLblPos val="t"/>
              <c:showLegendKey val="0"/>
              <c:showVal val="1"/>
              <c:showCatName val="0"/>
              <c:showSerName val="0"/>
              <c:showPercent val="0"/>
              <c:showBubbleSize val="0"/>
            </c:dLbl>
            <c:dLbl>
              <c:idx val="2"/>
              <c:tx>
                <c:rich>
                  <a:bodyPr/>
                  <a:lstStyle/>
                  <a:p>
                    <a:r>
                      <a:t>9.53</a:t>
                    </a:r>
                  </a:p>
                </c:rich>
              </c:tx>
              <c:dLblPos val="t"/>
              <c:showLegendKey val="0"/>
              <c:showVal val="1"/>
              <c:showCatName val="0"/>
              <c:showSerName val="0"/>
              <c:showPercent val="0"/>
              <c:showBubbleSize val="0"/>
            </c:dLbl>
            <c:dLbl>
              <c:idx val="3"/>
              <c:tx>
                <c:rich>
                  <a:bodyPr/>
                  <a:lstStyle/>
                  <a:p>
                    <a:r>
                      <a:t>9.96</a:t>
                    </a:r>
                  </a:p>
                </c:rich>
              </c:tx>
              <c:dLblPos val="t"/>
              <c:showLegendKey val="0"/>
              <c:showVal val="1"/>
              <c:showCatName val="0"/>
              <c:showSerName val="0"/>
              <c:showPercent val="0"/>
              <c:showBubbleSize val="0"/>
            </c:dLbl>
            <c:dLbl>
              <c:idx val="4"/>
              <c:tx>
                <c:rich>
                  <a:bodyPr/>
                  <a:lstStyle/>
                  <a:p>
                    <a:r>
                      <a:t>9.99</a:t>
                    </a:r>
                  </a:p>
                </c:rich>
              </c:tx>
              <c:dLblPos val="t"/>
              <c:showLegendKey val="0"/>
              <c:showVal val="1"/>
              <c:showCatName val="0"/>
              <c:showSerName val="0"/>
              <c:showPercent val="0"/>
              <c:showBubbleSize val="0"/>
            </c:dLbl>
            <c:dLbl>
              <c:idx val="5"/>
              <c:tx>
                <c:rich>
                  <a:bodyPr/>
                  <a:lstStyle/>
                  <a:p>
                    <a:r>
                      <a:t>9.9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YDRO 5 SENSITIVE 5 BLADE REFILL SENSITIVE 6CT</c:v>
                </c:pt>
                <c:pt idx="1">
                  <c:v>HYDRO 5 SENSITIVE 5 BLADE REFILL SENSITIVE 12CT</c:v>
                </c:pt>
                <c:pt idx="2">
                  <c:v>SCHICK HYDRO 3 SENSITIVE 3 BLADE REFILL SENSITIVE 5CT</c:v>
                </c:pt>
                <c:pt idx="3">
                  <c:v>HYDRO 5 SENSITIVE 5 BLADE RAZOR SENSITIVE 3CT</c:v>
                </c:pt>
                <c:pt idx="4">
                  <c:v>HYDRO 5 SENSITIVE GRAY HOLIDAY GIFT PACK 5 BLADE RAZOR SENSITIVE 3CT</c:v>
                </c:pt>
                <c:pt idx="5">
                  <c:v>SCHICK HYDRO 3 SENSITIVE 3 BLADE RAZOR SENSITIVE 4CT</c:v>
                </c:pt>
              </c:strCache>
            </c:strRef>
          </c:cat>
          <c:val>
            <c:numRef>
              <c:f>Sheet1!$B$2:$B$7</c:f>
              <c:numCache>
                <c:formatCode>General</c:formatCode>
                <c:ptCount val="6"/>
                <c:pt idx="0">
                  <c:v>14.73</c:v>
                </c:pt>
                <c:pt idx="1">
                  <c:v>26.51</c:v>
                </c:pt>
                <c:pt idx="2">
                  <c:v>9.53</c:v>
                </c:pt>
                <c:pt idx="3">
                  <c:v>9.96</c:v>
                </c:pt>
                <c:pt idx="4">
                  <c:v>9.99</c:v>
                </c:pt>
                <c:pt idx="5">
                  <c:v>9.9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6.85</a:t>
                    </a:r>
                  </a:p>
                </c:rich>
              </c:tx>
              <c:dLblPos val="t"/>
              <c:showLegendKey val="0"/>
              <c:showVal val="1"/>
              <c:showCatName val="0"/>
              <c:showSerName val="0"/>
              <c:showPercent val="0"/>
              <c:showBubbleSize val="0"/>
            </c:dLbl>
            <c:dLbl>
              <c:idx val="1"/>
              <c:tx>
                <c:rich>
                  <a:bodyPr/>
                  <a:lstStyle/>
                  <a:p>
                    <a:r>
                      <a:t>14.9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EMO 5 BLADE RAZOR NORMAL 2CT</c:v>
                </c:pt>
                <c:pt idx="1">
                  <c:v>CREMO 5 BLADE REFILL NORMAL 4CT</c:v>
                </c:pt>
              </c:strCache>
            </c:strRef>
          </c:cat>
          <c:val>
            <c:numRef>
              <c:f>Sheet1!$B$2:$B$3</c:f>
              <c:numCache>
                <c:formatCode>General</c:formatCode>
                <c:ptCount val="2"/>
                <c:pt idx="0">
                  <c:v>16.85</c:v>
                </c:pt>
                <c:pt idx="1">
                  <c:v>14.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09</a:t>
                    </a:r>
                  </a:p>
                </c:rich>
              </c:tx>
              <c:dLblPos val="t"/>
              <c:showLegendKey val="0"/>
              <c:showVal val="1"/>
              <c:showCatName val="0"/>
              <c:showSerName val="0"/>
              <c:showPercent val="0"/>
              <c:showBubbleSize val="0"/>
            </c:dLbl>
            <c:dLbl>
              <c:idx val="1"/>
              <c:tx>
                <c:rich>
                  <a:bodyPr/>
                  <a:lstStyle/>
                  <a:p>
                    <a:r>
                      <a:t>7.29</a:t>
                    </a:r>
                  </a:p>
                </c:rich>
              </c:tx>
              <c:dLblPos val="t"/>
              <c:showLegendKey val="0"/>
              <c:showVal val="1"/>
              <c:showCatName val="0"/>
              <c:showSerName val="0"/>
              <c:showPercent val="0"/>
              <c:showBubbleSize val="0"/>
            </c:dLbl>
            <c:dLbl>
              <c:idx val="2"/>
              <c:tx>
                <c:rich>
                  <a:bodyPr/>
                  <a:lstStyle/>
                  <a:p>
                    <a:r>
                      <a:t>7.27</a:t>
                    </a:r>
                  </a:p>
                </c:rich>
              </c:tx>
              <c:dLblPos val="t"/>
              <c:showLegendKey val="0"/>
              <c:showVal val="1"/>
              <c:showCatName val="0"/>
              <c:showSerName val="0"/>
              <c:showPercent val="0"/>
              <c:showBubbleSize val="0"/>
            </c:dLbl>
            <c:dLbl>
              <c:idx val="3"/>
              <c:tx>
                <c:rich>
                  <a:bodyPr/>
                  <a:lstStyle/>
                  <a:p>
                    <a:r>
                      <a:t>11.92</a:t>
                    </a:r>
                  </a:p>
                </c:rich>
              </c:tx>
              <c:dLblPos val="t"/>
              <c:showLegendKey val="0"/>
              <c:showVal val="1"/>
              <c:showCatName val="0"/>
              <c:showSerName val="0"/>
              <c:showPercent val="0"/>
              <c:showBubbleSize val="0"/>
            </c:dLbl>
            <c:dLbl>
              <c:idx val="4"/>
              <c:tx>
                <c:rich>
                  <a:bodyPr/>
                  <a:lstStyle/>
                  <a:p>
                    <a:r>
                      <a:t>9.2</a:t>
                    </a:r>
                  </a:p>
                </c:rich>
              </c:tx>
              <c:dLblPos val="t"/>
              <c:showLegendKey val="0"/>
              <c:showVal val="1"/>
              <c:showCatName val="0"/>
              <c:showSerName val="0"/>
              <c:showPercent val="0"/>
              <c:showBubbleSize val="0"/>
            </c:dLbl>
            <c:dLbl>
              <c:idx val="5"/>
              <c:tx>
                <c:rich>
                  <a:bodyPr/>
                  <a:lstStyle/>
                  <a:p>
                    <a:r>
                      <a:t>16.66</a:t>
                    </a:r>
                  </a:p>
                </c:rich>
              </c:tx>
              <c:dLblPos val="t"/>
              <c:showLegendKey val="0"/>
              <c:showVal val="1"/>
              <c:showCatName val="0"/>
              <c:showSerName val="0"/>
              <c:showPercent val="0"/>
              <c:showBubbleSize val="0"/>
            </c:dLbl>
            <c:dLbl>
              <c:idx val="6"/>
              <c:tx>
                <c:rich>
                  <a:bodyPr/>
                  <a:lstStyle/>
                  <a:p>
                    <a:r>
                      <a:t>16.0</a:t>
                    </a:r>
                  </a:p>
                </c:rich>
              </c:tx>
              <c:dLblPos val="t"/>
              <c:showLegendKey val="0"/>
              <c:showVal val="1"/>
              <c:showCatName val="0"/>
              <c:showSerName val="0"/>
              <c:showPercent val="0"/>
              <c:showBubbleSize val="0"/>
            </c:dLbl>
            <c:dLbl>
              <c:idx val="7"/>
              <c:tx>
                <c:rich>
                  <a:bodyPr/>
                  <a:lstStyle/>
                  <a:p>
                    <a:r>
                      <a:t>11.19</a:t>
                    </a:r>
                  </a:p>
                </c:rich>
              </c:tx>
              <c:dLblPos val="t"/>
              <c:showLegendKey val="0"/>
              <c:showVal val="1"/>
              <c:showCatName val="0"/>
              <c:showSerName val="0"/>
              <c:showPercent val="0"/>
              <c:showBubbleSize val="0"/>
            </c:dLbl>
            <c:dLbl>
              <c:idx val="8"/>
              <c:tx>
                <c:rich>
                  <a:bodyPr/>
                  <a:lstStyle/>
                  <a:p>
                    <a:r>
                      <a:t>15.18</a:t>
                    </a:r>
                  </a:p>
                </c:rich>
              </c:tx>
              <c:dLblPos val="t"/>
              <c:showLegendKey val="0"/>
              <c:showVal val="1"/>
              <c:showCatName val="0"/>
              <c:showSerName val="0"/>
              <c:showPercent val="0"/>
              <c:showBubbleSize val="0"/>
            </c:dLbl>
            <c:dLbl>
              <c:idx val="9"/>
              <c:tx>
                <c:rich>
                  <a:bodyPr/>
                  <a:lstStyle/>
                  <a:p>
                    <a:r>
                      <a:t>15.11</a:t>
                    </a:r>
                  </a:p>
                </c:rich>
              </c:tx>
              <c:dLblPos val="t"/>
              <c:showLegendKey val="0"/>
              <c:showVal val="1"/>
              <c:showCatName val="0"/>
              <c:showSerName val="0"/>
              <c:showPercent val="0"/>
              <c:showBubbleSize val="0"/>
            </c:dLbl>
            <c:dLbl>
              <c:idx val="10"/>
              <c:tx>
                <c:rich>
                  <a:bodyPr/>
                  <a:lstStyle/>
                  <a:p>
                    <a:r>
                      <a:t>8.99</a:t>
                    </a:r>
                  </a:p>
                </c:rich>
              </c:tx>
              <c:dLblPos val="t"/>
              <c:showLegendKey val="0"/>
              <c:showVal val="1"/>
              <c:showCatName val="0"/>
              <c:showSerName val="0"/>
              <c:showPercent val="0"/>
              <c:showBubbleSize val="0"/>
            </c:dLbl>
            <c:dLbl>
              <c:idx val="11"/>
              <c:tx>
                <c:rich>
                  <a:bodyPr/>
                  <a:lstStyle/>
                  <a:p>
                    <a:r>
                      <a:t>9.46</a:t>
                    </a:r>
                  </a:p>
                </c:rich>
              </c:tx>
              <c:dLblPos val="t"/>
              <c:showLegendKey val="0"/>
              <c:showVal val="1"/>
              <c:showCatName val="0"/>
              <c:showSerName val="0"/>
              <c:showPercent val="0"/>
              <c:showBubbleSize val="0"/>
            </c:dLbl>
            <c:dLbl>
              <c:idx val="12"/>
              <c:tx>
                <c:rich>
                  <a:bodyPr/>
                  <a:lstStyle/>
                  <a:p>
                    <a:r>
                      <a:t>6.51</a:t>
                    </a:r>
                  </a:p>
                </c:rich>
              </c:tx>
              <c:dLblPos val="t"/>
              <c:showLegendKey val="0"/>
              <c:showVal val="1"/>
              <c:showCatName val="0"/>
              <c:showSerName val="0"/>
              <c:showPercent val="0"/>
              <c:showBubbleSize val="0"/>
            </c:dLbl>
            <c:dLbl>
              <c:idx val="13"/>
              <c:tx>
                <c:rich>
                  <a:bodyPr/>
                  <a:lstStyle/>
                  <a:p>
                    <a:r>
                      <a:t>2.6</a:t>
                    </a:r>
                  </a:p>
                </c:rich>
              </c:tx>
              <c:dLblPos val="t"/>
              <c:showLegendKey val="0"/>
              <c:showVal val="1"/>
              <c:showCatName val="0"/>
              <c:showSerName val="0"/>
              <c:showPercent val="0"/>
              <c:showBubbleSize val="0"/>
            </c:dLbl>
            <c:dLbl>
              <c:idx val="14"/>
              <c:tx>
                <c:rich>
                  <a:bodyPr/>
                  <a:lstStyle/>
                  <a:p>
                    <a:r>
                      <a:t>9.1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CHICK XTREME 3 SENSITIVE BLACK GREEN 3 BLADE DISPOSABLE SENSITIVE 20CT</c:v>
                </c:pt>
                <c:pt idx="1">
                  <c:v>SCHICK XTREME 2 SENSITIVE 2 BLADE DISPOSABLE NORMAL 12CT</c:v>
                </c:pt>
                <c:pt idx="2">
                  <c:v>SCHICK XTREME 3 SENSITIVE BLACK 3 BLADE DISPOSABLE SENSITIVE 4CT</c:v>
                </c:pt>
                <c:pt idx="3">
                  <c:v>SCHICK XTREME 3 SENSITIVE GREEN 3 BLADE DISPOSABLE SENSITIVE 8CT</c:v>
                </c:pt>
                <c:pt idx="4">
                  <c:v>SCHICK XTREME 3 SENSITIVE GREEN BLACK 3 BLADE DISPOSABLE SENSITIVE 4CT</c:v>
                </c:pt>
                <c:pt idx="5">
                  <c:v>SCHICK XTREME 3 SENSITIVE GREEN BLACK 3 BLADE DISPOSABLE SENSITIVE 8CT</c:v>
                </c:pt>
                <c:pt idx="6">
                  <c:v>SCHICK XTREME 3 SENSITIVE GREEN BLACK 3 BLADE DISPOSABLE SENSITIVE 12CT</c:v>
                </c:pt>
                <c:pt idx="7">
                  <c:v>HYDRO 5 5 BLADE DISPOSABLE NORMAL 3CT</c:v>
                </c:pt>
                <c:pt idx="8">
                  <c:v>SCHICK XTREME 3 SENSITIVE GREEN 3 BLADE DISPOSABLE SENSITIVE 12CT</c:v>
                </c:pt>
                <c:pt idx="9">
                  <c:v>SCHICK XTREME 3 SENSITIVE BLACK GREEN 3 BLADE DISPOSABLE SENSITIVE 12CT</c:v>
                </c:pt>
                <c:pt idx="10">
                  <c:v>SCHICK XTREME 4 OUTLAST 4 BLADE DISPOSABLE NORMAL 3CT</c:v>
                </c:pt>
                <c:pt idx="11">
                  <c:v>SCHICK XTREME 3 FACE AND BODY 3 BLADE DISPOSABLE NORMAL 4CT</c:v>
                </c:pt>
                <c:pt idx="12">
                  <c:v>SCHICK XTREME 5 BLACK GRAY 5 BLADE DISPOSABLE SENSITIVE 2CT</c:v>
                </c:pt>
                <c:pt idx="13">
                  <c:v>SCHICK XTREME 3 SENSITIVE 3 BLADE DISPOSABLE SENSITIVE 1CT</c:v>
                </c:pt>
                <c:pt idx="14">
                  <c:v>SCHICK XTREME 3 DUO COMFORT 3 BLADE DISPOSABLE NORMAL 4CT</c:v>
                </c:pt>
              </c:strCache>
            </c:strRef>
          </c:cat>
          <c:val>
            <c:numRef>
              <c:f>Sheet1!$B$2:$B$16</c:f>
              <c:numCache>
                <c:formatCode>General</c:formatCode>
                <c:ptCount val="15"/>
                <c:pt idx="0">
                  <c:v>20.09</c:v>
                </c:pt>
                <c:pt idx="1">
                  <c:v>7.29</c:v>
                </c:pt>
                <c:pt idx="2">
                  <c:v>7.27</c:v>
                </c:pt>
                <c:pt idx="3">
                  <c:v>11.92</c:v>
                </c:pt>
                <c:pt idx="4">
                  <c:v>9.2</c:v>
                </c:pt>
                <c:pt idx="5">
                  <c:v>16.66</c:v>
                </c:pt>
                <c:pt idx="6">
                  <c:v>16.0</c:v>
                </c:pt>
                <c:pt idx="7">
                  <c:v>11.19</c:v>
                </c:pt>
                <c:pt idx="8">
                  <c:v>15.18</c:v>
                </c:pt>
                <c:pt idx="9">
                  <c:v>15.11</c:v>
                </c:pt>
                <c:pt idx="10">
                  <c:v>8.99</c:v>
                </c:pt>
                <c:pt idx="11">
                  <c:v>9.46</c:v>
                </c:pt>
                <c:pt idx="12">
                  <c:v>6.51</c:v>
                </c:pt>
                <c:pt idx="13">
                  <c:v>2.6</c:v>
                </c:pt>
                <c:pt idx="14">
                  <c:v>9.1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1</a:t>
                    </a:r>
                  </a:p>
                </c:rich>
              </c:tx>
              <c:dLblPos val="t"/>
              <c:showLegendKey val="0"/>
              <c:showVal val="1"/>
              <c:showCatName val="0"/>
              <c:showSerName val="0"/>
              <c:showPercent val="0"/>
              <c:showBubbleSize val="0"/>
            </c:dLbl>
            <c:dLbl>
              <c:idx val="1"/>
              <c:tx>
                <c:rich>
                  <a:bodyPr/>
                  <a:lstStyle/>
                  <a:p>
                    <a:r>
                      <a:t>24.7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CHICK XTREME 3 SENSITIVE BLACK GREEN 3 BLADE DISPOSABLE SENSITIVE 20CT</c:v>
                </c:pt>
                <c:pt idx="1">
                  <c:v>SCHICK XTREME 3 SENSITIVE BLACK 3 BLADE DISPOSABLE SENSITIVE 20CT</c:v>
                </c:pt>
              </c:strCache>
            </c:strRef>
          </c:cat>
          <c:val>
            <c:numRef>
              <c:f>Sheet1!$B$2:$B$3</c:f>
              <c:numCache>
                <c:formatCode>General</c:formatCode>
                <c:ptCount val="2"/>
                <c:pt idx="0">
                  <c:v>20.1</c:v>
                </c:pt>
                <c:pt idx="1">
                  <c:v>24.7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5</a:t>
                    </a:r>
                  </a:p>
                </c:rich>
              </c:tx>
              <c:dLblPos val="t"/>
              <c:showLegendKey val="0"/>
              <c:showVal val="1"/>
              <c:showCatName val="0"/>
              <c:showSerName val="0"/>
              <c:showPercent val="0"/>
              <c:showBubbleSize val="0"/>
            </c:dLbl>
            <c:dLbl>
              <c:idx val="1"/>
              <c:tx>
                <c:rich>
                  <a:bodyPr/>
                  <a:lstStyle/>
                  <a:p>
                    <a:r>
                      <a:t>11.02</a:t>
                    </a:r>
                  </a:p>
                </c:rich>
              </c:tx>
              <c:dLblPos val="t"/>
              <c:showLegendKey val="0"/>
              <c:showVal val="1"/>
              <c:showCatName val="0"/>
              <c:showSerName val="0"/>
              <c:showPercent val="0"/>
              <c:showBubbleSize val="0"/>
            </c:dLbl>
            <c:dLbl>
              <c:idx val="2"/>
              <c:tx>
                <c:rich>
                  <a:bodyPr/>
                  <a:lstStyle/>
                  <a:p>
                    <a:r>
                      <a:t>11.02</a:t>
                    </a:r>
                  </a:p>
                </c:rich>
              </c:tx>
              <c:dLblPos val="t"/>
              <c:showLegendKey val="0"/>
              <c:showVal val="1"/>
              <c:showCatName val="0"/>
              <c:showSerName val="0"/>
              <c:showPercent val="0"/>
              <c:showBubbleSize val="0"/>
            </c:dLbl>
            <c:dLbl>
              <c:idx val="3"/>
              <c:tx>
                <c:rich>
                  <a:bodyPr/>
                  <a:lstStyle/>
                  <a:p>
                    <a:r>
                      <a:t>6.53</a:t>
                    </a:r>
                  </a:p>
                </c:rich>
              </c:tx>
              <c:dLblPos val="t"/>
              <c:showLegendKey val="0"/>
              <c:showVal val="1"/>
              <c:showCatName val="0"/>
              <c:showSerName val="0"/>
              <c:showPercent val="0"/>
              <c:showBubbleSize val="0"/>
            </c:dLbl>
            <c:dLbl>
              <c:idx val="4"/>
              <c:tx>
                <c:rich>
                  <a:bodyPr/>
                  <a:lstStyle/>
                  <a:p>
                    <a:r>
                      <a:t>15.1</a:t>
                    </a:r>
                  </a:p>
                </c:rich>
              </c:tx>
              <c:dLblPos val="t"/>
              <c:showLegendKey val="0"/>
              <c:showVal val="1"/>
              <c:showCatName val="0"/>
              <c:showSerName val="0"/>
              <c:showPercent val="0"/>
              <c:showBubbleSize val="0"/>
            </c:dLbl>
            <c:dLbl>
              <c:idx val="5"/>
              <c:tx>
                <c:rich>
                  <a:bodyPr/>
                  <a:lstStyle/>
                  <a:p>
                    <a:r>
                      <a:t>6.49</a:t>
                    </a:r>
                  </a:p>
                </c:rich>
              </c:tx>
              <c:dLblPos val="t"/>
              <c:showLegendKey val="0"/>
              <c:showVal val="1"/>
              <c:showCatName val="0"/>
              <c:showSerName val="0"/>
              <c:showPercent val="0"/>
              <c:showBubbleSize val="0"/>
            </c:dLbl>
            <c:dLbl>
              <c:idx val="6"/>
              <c:tx>
                <c:rich>
                  <a:bodyPr/>
                  <a:lstStyle/>
                  <a:p>
                    <a:r>
                      <a:t>15.04</a:t>
                    </a:r>
                  </a:p>
                </c:rich>
              </c:tx>
              <c:dLblPos val="t"/>
              <c:showLegendKey val="0"/>
              <c:showVal val="1"/>
              <c:showCatName val="0"/>
              <c:showSerName val="0"/>
              <c:showPercent val="0"/>
              <c:showBubbleSize val="0"/>
            </c:dLbl>
            <c:dLbl>
              <c:idx val="7"/>
              <c:tx>
                <c:rich>
                  <a:bodyPr/>
                  <a:lstStyle/>
                  <a:p>
                    <a:r>
                      <a:t>9.9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SCHICK XTREME 2 SENSITIVE 2 BLADE DISPOSABLE NORMAL 12CT</c:v>
                </c:pt>
                <c:pt idx="1">
                  <c:v>SCHICK XTREME 3 SENSITIVE GREEN 3 BLADE DISPOSABLE SENSITIVE 8CT</c:v>
                </c:pt>
                <c:pt idx="2">
                  <c:v>SCHICK XTREME 3 SENSITIVE GREEN BLACK 3 BLADE DISPOSABLE SENSITIVE 8CT</c:v>
                </c:pt>
                <c:pt idx="3">
                  <c:v>SCHICK XTREME 3 SENSITIVE GREEN BLACK 3 BLADE DISPOSABLE SENSITIVE 4CT</c:v>
                </c:pt>
                <c:pt idx="4">
                  <c:v>SCHICK XTREME 3 SENSITIVE GREEN BLACK 3 BLADE DISPOSABLE SENSITIVE 12CT</c:v>
                </c:pt>
                <c:pt idx="5">
                  <c:v>SCHICK XTREME 3 SENSITIVE BLACK 3 BLADE DISPOSABLE SENSITIVE 4CT</c:v>
                </c:pt>
                <c:pt idx="6">
                  <c:v>SCHICK XTREME 3 SENSITIVE BLACK GREEN 3 BLADE DISPOSABLE SENSITIVE 12CT</c:v>
                </c:pt>
                <c:pt idx="7">
                  <c:v>SCHICK XTREME 3 SENSITIVE GREEN HOLIDAY GIFT PACK 3 BLADE DISPOSABLE SENSITIVE 8CT</c:v>
                </c:pt>
              </c:strCache>
            </c:strRef>
          </c:cat>
          <c:val>
            <c:numRef>
              <c:f>Sheet1!$B$2:$B$9</c:f>
              <c:numCache>
                <c:formatCode>General</c:formatCode>
                <c:ptCount val="8"/>
                <c:pt idx="0">
                  <c:v>6.5</c:v>
                </c:pt>
                <c:pt idx="1">
                  <c:v>11.02</c:v>
                </c:pt>
                <c:pt idx="2">
                  <c:v>11.02</c:v>
                </c:pt>
                <c:pt idx="3">
                  <c:v>6.53</c:v>
                </c:pt>
                <c:pt idx="4">
                  <c:v>15.1</c:v>
                </c:pt>
                <c:pt idx="5">
                  <c:v>6.49</c:v>
                </c:pt>
                <c:pt idx="6">
                  <c:v>15.04</c:v>
                </c:pt>
                <c:pt idx="7">
                  <c:v>9.9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5.58</a:t>
                    </a:r>
                  </a:p>
                </c:rich>
              </c:tx>
              <c:dLblPos val="t"/>
              <c:showLegendKey val="0"/>
              <c:showVal val="1"/>
              <c:showCatName val="0"/>
              <c:showSerName val="0"/>
              <c:showPercent val="0"/>
              <c:showBubbleSize val="0"/>
            </c:dLbl>
            <c:dLbl>
              <c:idx val="1"/>
              <c:tx>
                <c:rich>
                  <a:bodyPr/>
                  <a:lstStyle/>
                  <a:p>
                    <a:r>
                      <a:t>27.56</a:t>
                    </a:r>
                  </a:p>
                </c:rich>
              </c:tx>
              <c:dLblPos val="t"/>
              <c:showLegendKey val="0"/>
              <c:showVal val="1"/>
              <c:showCatName val="0"/>
              <c:showSerName val="0"/>
              <c:showPercent val="0"/>
              <c:showBubbleSize val="0"/>
            </c:dLbl>
            <c:dLbl>
              <c:idx val="2"/>
              <c:tx>
                <c:rich>
                  <a:bodyPr/>
                  <a:lstStyle/>
                  <a:p>
                    <a:r>
                      <a:t>17.52</a:t>
                    </a:r>
                  </a:p>
                </c:rich>
              </c:tx>
              <c:dLblPos val="t"/>
              <c:showLegendKey val="0"/>
              <c:showVal val="1"/>
              <c:showCatName val="0"/>
              <c:showSerName val="0"/>
              <c:showPercent val="0"/>
              <c:showBubbleSize val="0"/>
            </c:dLbl>
            <c:dLbl>
              <c:idx val="3"/>
              <c:tx>
                <c:rich>
                  <a:bodyPr/>
                  <a:lstStyle/>
                  <a:p>
                    <a:r>
                      <a:t>14.1</a:t>
                    </a:r>
                  </a:p>
                </c:rich>
              </c:tx>
              <c:dLblPos val="t"/>
              <c:showLegendKey val="0"/>
              <c:showVal val="1"/>
              <c:showCatName val="0"/>
              <c:showSerName val="0"/>
              <c:showPercent val="0"/>
              <c:showBubbleSize val="0"/>
            </c:dLbl>
            <c:dLbl>
              <c:idx val="4"/>
              <c:tx>
                <c:rich>
                  <a:bodyPr/>
                  <a:lstStyle/>
                  <a:p>
                    <a:r>
                      <a:t>24.56</a:t>
                    </a:r>
                  </a:p>
                </c:rich>
              </c:tx>
              <c:dLblPos val="t"/>
              <c:showLegendKey val="0"/>
              <c:showVal val="1"/>
              <c:showCatName val="0"/>
              <c:showSerName val="0"/>
              <c:showPercent val="0"/>
              <c:showBubbleSize val="0"/>
            </c:dLbl>
            <c:dLbl>
              <c:idx val="5"/>
              <c:tx>
                <c:rich>
                  <a:bodyPr/>
                  <a:lstStyle/>
                  <a:p>
                    <a:r>
                      <a:t>12.41</a:t>
                    </a:r>
                  </a:p>
                </c:rich>
              </c:tx>
              <c:dLblPos val="t"/>
              <c:showLegendKey val="0"/>
              <c:showVal val="1"/>
              <c:showCatName val="0"/>
              <c:showSerName val="0"/>
              <c:showPercent val="0"/>
              <c:showBubbleSize val="0"/>
            </c:dLbl>
            <c:dLbl>
              <c:idx val="6"/>
              <c:tx>
                <c:rich>
                  <a:bodyPr/>
                  <a:lstStyle/>
                  <a:p>
                    <a:r>
                      <a:t>22.17</a:t>
                    </a:r>
                  </a:p>
                </c:rich>
              </c:tx>
              <c:dLblPos val="t"/>
              <c:showLegendKey val="0"/>
              <c:showVal val="1"/>
              <c:showCatName val="0"/>
              <c:showSerName val="0"/>
              <c:showPercent val="0"/>
              <c:showBubbleSize val="0"/>
            </c:dLbl>
            <c:dLbl>
              <c:idx val="7"/>
              <c:tx>
                <c:rich>
                  <a:bodyPr/>
                  <a:lstStyle/>
                  <a:p>
                    <a:r>
                      <a:t>15.29</a:t>
                    </a:r>
                  </a:p>
                </c:rich>
              </c:tx>
              <c:dLblPos val="t"/>
              <c:showLegendKey val="0"/>
              <c:showVal val="1"/>
              <c:showCatName val="0"/>
              <c:showSerName val="0"/>
              <c:showPercent val="0"/>
              <c:showBubbleSize val="0"/>
            </c:dLbl>
            <c:dLbl>
              <c:idx val="8"/>
              <c:tx>
                <c:rich>
                  <a:bodyPr/>
                  <a:lstStyle/>
                  <a:p>
                    <a:r>
                      <a:t>10.58</a:t>
                    </a:r>
                  </a:p>
                </c:rich>
              </c:tx>
              <c:dLblPos val="t"/>
              <c:showLegendKey val="0"/>
              <c:showVal val="1"/>
              <c:showCatName val="0"/>
              <c:showSerName val="0"/>
              <c:showPercent val="0"/>
              <c:showBubbleSize val="0"/>
            </c:dLbl>
            <c:dLbl>
              <c:idx val="9"/>
              <c:tx>
                <c:rich>
                  <a:bodyPr/>
                  <a:lstStyle/>
                  <a:p>
                    <a:r>
                      <a:t>11.69</a:t>
                    </a:r>
                  </a:p>
                </c:rich>
              </c:tx>
              <c:dLblPos val="t"/>
              <c:showLegendKey val="0"/>
              <c:showVal val="1"/>
              <c:showCatName val="0"/>
              <c:showSerName val="0"/>
              <c:showPercent val="0"/>
              <c:showBubbleSize val="0"/>
            </c:dLbl>
            <c:dLbl>
              <c:idx val="10"/>
              <c:tx>
                <c:rich>
                  <a:bodyPr/>
                  <a:lstStyle/>
                  <a:p>
                    <a:r>
                      <a:t>12.29</a:t>
                    </a:r>
                  </a:p>
                </c:rich>
              </c:tx>
              <c:dLblPos val="t"/>
              <c:showLegendKey val="0"/>
              <c:showVal val="1"/>
              <c:showCatName val="0"/>
              <c:showSerName val="0"/>
              <c:showPercent val="0"/>
              <c:showBubbleSize val="0"/>
            </c:dLbl>
            <c:dLbl>
              <c:idx val="11"/>
              <c:tx>
                <c:rich>
                  <a:bodyPr/>
                  <a:lstStyle/>
                  <a:p>
                    <a:r>
                      <a:t>10.0</a:t>
                    </a:r>
                  </a:p>
                </c:rich>
              </c:tx>
              <c:dLblPos val="t"/>
              <c:showLegendKey val="0"/>
              <c:showVal val="1"/>
              <c:showCatName val="0"/>
              <c:showSerName val="0"/>
              <c:showPercent val="0"/>
              <c:showBubbleSize val="0"/>
            </c:dLbl>
            <c:dLbl>
              <c:idx val="12"/>
              <c:tx>
                <c:rich>
                  <a:bodyPr/>
                  <a:lstStyle/>
                  <a:p>
                    <a:r>
                      <a:t>40.74</a:t>
                    </a:r>
                  </a:p>
                </c:rich>
              </c:tx>
              <c:dLblPos val="t"/>
              <c:showLegendKey val="0"/>
              <c:showVal val="1"/>
              <c:showCatName val="0"/>
              <c:showSerName val="0"/>
              <c:showPercent val="0"/>
              <c:showBubbleSize val="0"/>
            </c:dLbl>
            <c:dLbl>
              <c:idx val="13"/>
              <c:tx>
                <c:rich>
                  <a:bodyPr/>
                  <a:lstStyle/>
                  <a:p>
                    <a:r>
                      <a:t>12.27</a:t>
                    </a:r>
                  </a:p>
                </c:rich>
              </c:tx>
              <c:dLblPos val="t"/>
              <c:showLegendKey val="0"/>
              <c:showVal val="1"/>
              <c:showCatName val="0"/>
              <c:showSerName val="0"/>
              <c:showPercent val="0"/>
              <c:showBubbleSize val="0"/>
            </c:dLbl>
            <c:dLbl>
              <c:idx val="14"/>
              <c:tx>
                <c:rich>
                  <a:bodyPr/>
                  <a:lstStyle/>
                  <a:p>
                    <a:r>
                      <a:t>28.7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HYDRO 5 SENSITIVE 5 BLADE REFILL SENSITIVE 6CT</c:v>
                </c:pt>
                <c:pt idx="1">
                  <c:v>HYDRO 5 SENSITIVE 5 BLADE REFILL SENSITIVE 12CT</c:v>
                </c:pt>
                <c:pt idx="2">
                  <c:v>HYDRO 5 DRY SKIN 5 BLADE REFILL DRY 6CT</c:v>
                </c:pt>
                <c:pt idx="3">
                  <c:v>SCHICK QUATTRO FOR MEN 4 BLADE REFILL NORMAL 8CT</c:v>
                </c:pt>
                <c:pt idx="4">
                  <c:v>SCHICK HYDRO STUBBLE ERASER 5 BLADE REFILL NORMAL 12CT</c:v>
                </c:pt>
                <c:pt idx="5">
                  <c:v>SCHICK HYDRO 3 SENSITIVE 3 BLADE REFILL SENSITIVE 5CT</c:v>
                </c:pt>
                <c:pt idx="6">
                  <c:v>SCHICK HYDRO 3 SENSITIVE 3 BLADE REFILL SENSITIVE 12CT</c:v>
                </c:pt>
                <c:pt idx="7">
                  <c:v>HYDRO 5 DRY SKIN 5 BLADE REFILL NORMAL 4CT</c:v>
                </c:pt>
                <c:pt idx="8">
                  <c:v>HYDRO 5 SENSITIVE 5 BLADE RAZOR SENSITIVE 3CT</c:v>
                </c:pt>
                <c:pt idx="9">
                  <c:v>HYDRO 5 DRY SKIN 5 BLADE RAZOR DRY 3CT</c:v>
                </c:pt>
                <c:pt idx="10">
                  <c:v>SCHICK QUATTRO FOR MEN 4 BLADE RAZOR NORMAL 4CT</c:v>
                </c:pt>
                <c:pt idx="11">
                  <c:v>HYDRO 5 SENSITIVE GRAY HOLIDAY GIFT PACK 5 BLADE RAZOR SENSITIVE 3CT</c:v>
                </c:pt>
                <c:pt idx="12">
                  <c:v>HYDRO 5 SENSITIVE 5 BLADE RAZOR SENSITIVE 17CT</c:v>
                </c:pt>
                <c:pt idx="13">
                  <c:v>SCHICK HYDRO 3 SENSITIVE 3 BLADE RAZOR SENSITIVE 4CT</c:v>
                </c:pt>
                <c:pt idx="14">
                  <c:v>SCHICK QUATTRO FOR MEN 4 BLADE RAZOR NORMAL 16CT</c:v>
                </c:pt>
              </c:strCache>
            </c:strRef>
          </c:cat>
          <c:val>
            <c:numRef>
              <c:f>Sheet1!$B$2:$B$16</c:f>
              <c:numCache>
                <c:formatCode>General</c:formatCode>
                <c:ptCount val="15"/>
                <c:pt idx="0">
                  <c:v>15.58</c:v>
                </c:pt>
                <c:pt idx="1">
                  <c:v>27.56</c:v>
                </c:pt>
                <c:pt idx="2">
                  <c:v>17.52</c:v>
                </c:pt>
                <c:pt idx="3">
                  <c:v>14.1</c:v>
                </c:pt>
                <c:pt idx="4">
                  <c:v>24.56</c:v>
                </c:pt>
                <c:pt idx="5">
                  <c:v>12.41</c:v>
                </c:pt>
                <c:pt idx="6">
                  <c:v>22.17</c:v>
                </c:pt>
                <c:pt idx="7">
                  <c:v>15.29</c:v>
                </c:pt>
                <c:pt idx="8">
                  <c:v>10.58</c:v>
                </c:pt>
                <c:pt idx="9">
                  <c:v>11.69</c:v>
                </c:pt>
                <c:pt idx="10">
                  <c:v>12.29</c:v>
                </c:pt>
                <c:pt idx="11">
                  <c:v>10.0</c:v>
                </c:pt>
                <c:pt idx="12">
                  <c:v>40.74</c:v>
                </c:pt>
                <c:pt idx="13">
                  <c:v>12.27</c:v>
                </c:pt>
                <c:pt idx="14">
                  <c:v>28.7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8</a:t>
                    </a:r>
                  </a:p>
                </c:rich>
              </c:tx>
              <c:dLblPos val="t"/>
              <c:showLegendKey val="0"/>
              <c:showVal val="1"/>
              <c:showCatName val="0"/>
              <c:showSerName val="0"/>
              <c:showPercent val="0"/>
              <c:showBubbleSize val="0"/>
            </c:dLbl>
            <c:dLbl>
              <c:idx val="1"/>
              <c:tx>
                <c:rich>
                  <a:bodyPr/>
                  <a:lstStyle/>
                  <a:p>
                    <a:r>
                      <a:t>15.89</a:t>
                    </a:r>
                  </a:p>
                </c:rich>
              </c:tx>
              <c:dLblPos val="t"/>
              <c:showLegendKey val="0"/>
              <c:showVal val="1"/>
              <c:showCatName val="0"/>
              <c:showSerName val="0"/>
              <c:showPercent val="0"/>
              <c:showBubbleSize val="0"/>
            </c:dLbl>
            <c:dLbl>
              <c:idx val="2"/>
              <c:tx>
                <c:rich>
                  <a:bodyPr/>
                  <a:lstStyle/>
                  <a:p>
                    <a:r>
                      <a:t>10.95</a:t>
                    </a:r>
                  </a:p>
                </c:rich>
              </c:tx>
              <c:dLblPos val="t"/>
              <c:showLegendKey val="0"/>
              <c:showVal val="1"/>
              <c:showCatName val="0"/>
              <c:showSerName val="0"/>
              <c:showPercent val="0"/>
              <c:showBubbleSize val="0"/>
            </c:dLbl>
            <c:dLbl>
              <c:idx val="3"/>
              <c:tx>
                <c:rich>
                  <a:bodyPr/>
                  <a:lstStyle/>
                  <a:p>
                    <a:r>
                      <a:t>16.67</a:t>
                    </a:r>
                  </a:p>
                </c:rich>
              </c:tx>
              <c:dLblPos val="t"/>
              <c:showLegendKey val="0"/>
              <c:showVal val="1"/>
              <c:showCatName val="0"/>
              <c:showSerName val="0"/>
              <c:showPercent val="0"/>
              <c:showBubbleSize val="0"/>
            </c:dLbl>
            <c:dLbl>
              <c:idx val="4"/>
              <c:tx>
                <c:rich>
                  <a:bodyPr/>
                  <a:lstStyle/>
                  <a:p>
                    <a:r>
                      <a:t>24.4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REMO 5 BLADE REFILL NORMAL 4CT</c:v>
                </c:pt>
                <c:pt idx="1">
                  <c:v>CREMO 5 BLADE RAZOR NORMAL 2CT</c:v>
                </c:pt>
                <c:pt idx="2">
                  <c:v>CREMO SILVER HOLIDAY GIFT PACK 5 BLADE RAZOR 5CT</c:v>
                </c:pt>
                <c:pt idx="3">
                  <c:v>CREMO SILVER HOLIDAY GIFT PACK REM BLADES RAZOR 5CT</c:v>
                </c:pt>
                <c:pt idx="4">
                  <c:v>CREMO HERITAGE BLACK HOLIDAY GIFT PACK REM BLADES RAZOR 5CT</c:v>
                </c:pt>
              </c:strCache>
            </c:strRef>
          </c:cat>
          <c:val>
            <c:numRef>
              <c:f>Sheet1!$B$2:$B$6</c:f>
              <c:numCache>
                <c:formatCode>General</c:formatCode>
                <c:ptCount val="5"/>
                <c:pt idx="0">
                  <c:v>13.8</c:v>
                </c:pt>
                <c:pt idx="1">
                  <c:v>15.89</c:v>
                </c:pt>
                <c:pt idx="2">
                  <c:v>10.95</c:v>
                </c:pt>
                <c:pt idx="3">
                  <c:v>16.67</c:v>
                </c:pt>
                <c:pt idx="4">
                  <c:v>24.4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9</a:t>
                    </a:r>
                  </a:p>
                </c:rich>
              </c:tx>
              <c:dLblPos val="t"/>
              <c:showLegendKey val="0"/>
              <c:showVal val="1"/>
              <c:showCatName val="0"/>
              <c:showSerName val="0"/>
              <c:showPercent val="0"/>
              <c:showBubbleSize val="0"/>
            </c:dLbl>
            <c:dLbl>
              <c:idx val="1"/>
              <c:tx>
                <c:rich>
                  <a:bodyPr/>
                  <a:lstStyle/>
                  <a:p>
                    <a:r>
                      <a:t>15.52</a:t>
                    </a:r>
                  </a:p>
                </c:rich>
              </c:tx>
              <c:dLblPos val="t"/>
              <c:showLegendKey val="0"/>
              <c:showVal val="1"/>
              <c:showCatName val="0"/>
              <c:showSerName val="0"/>
              <c:showPercent val="0"/>
              <c:showBubbleSize val="0"/>
            </c:dLbl>
            <c:dLbl>
              <c:idx val="2"/>
              <c:tx>
                <c:rich>
                  <a:bodyPr/>
                  <a:lstStyle/>
                  <a:p>
                    <a:r>
                      <a:t>16.73</a:t>
                    </a:r>
                  </a:p>
                </c:rich>
              </c:tx>
              <c:dLblPos val="t"/>
              <c:showLegendKey val="0"/>
              <c:showVal val="1"/>
              <c:showCatName val="0"/>
              <c:showSerName val="0"/>
              <c:showPercent val="0"/>
              <c:showBubbleSize val="0"/>
            </c:dLbl>
            <c:dLbl>
              <c:idx val="3"/>
              <c:tx>
                <c:rich>
                  <a:bodyPr/>
                  <a:lstStyle/>
                  <a:p>
                    <a:r>
                      <a:t>10.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REMO 5 BLADE REFILL NORMAL 4CT</c:v>
                </c:pt>
                <c:pt idx="1">
                  <c:v>CREMO 5 BLADE RAZOR NORMAL 2CT</c:v>
                </c:pt>
                <c:pt idx="2">
                  <c:v>CREMO SILVER HOLIDAY GIFT PACK REM BLADES RAZOR 5CT</c:v>
                </c:pt>
                <c:pt idx="3">
                  <c:v>CREMO SILVER HOLIDAY GIFT PACK 5 BLADE RAZOR 5CT</c:v>
                </c:pt>
              </c:strCache>
            </c:strRef>
          </c:cat>
          <c:val>
            <c:numRef>
              <c:f>Sheet1!$B$2:$B$5</c:f>
              <c:numCache>
                <c:formatCode>General</c:formatCode>
                <c:ptCount val="4"/>
                <c:pt idx="0">
                  <c:v>13.9</c:v>
                </c:pt>
                <c:pt idx="1">
                  <c:v>15.52</c:v>
                </c:pt>
                <c:pt idx="2">
                  <c:v>16.73</c:v>
                </c:pt>
                <c:pt idx="3">
                  <c:v>10.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91</a:t>
                    </a:r>
                  </a:p>
                </c:rich>
              </c:tx>
              <c:dLblPos val="t"/>
              <c:showLegendKey val="0"/>
              <c:showVal val="1"/>
              <c:showCatName val="0"/>
              <c:showSerName val="0"/>
              <c:showPercent val="0"/>
              <c:showBubbleSize val="0"/>
            </c:dLbl>
            <c:dLbl>
              <c:idx val="1"/>
              <c:tx>
                <c:rich>
                  <a:bodyPr/>
                  <a:lstStyle/>
                  <a:p>
                    <a:r>
                      <a:t>26.97</a:t>
                    </a:r>
                  </a:p>
                </c:rich>
              </c:tx>
              <c:dLblPos val="t"/>
              <c:showLegendKey val="0"/>
              <c:showVal val="1"/>
              <c:showCatName val="0"/>
              <c:showSerName val="0"/>
              <c:showPercent val="0"/>
              <c:showBubbleSize val="0"/>
            </c:dLbl>
            <c:dLbl>
              <c:idx val="2"/>
              <c:tx>
                <c:rich>
                  <a:bodyPr/>
                  <a:lstStyle/>
                  <a:p>
                    <a:r>
                      <a:t>9.92</a:t>
                    </a:r>
                  </a:p>
                </c:rich>
              </c:tx>
              <c:dLblPos val="t"/>
              <c:showLegendKey val="0"/>
              <c:showVal val="1"/>
              <c:showCatName val="0"/>
              <c:showSerName val="0"/>
              <c:showPercent val="0"/>
              <c:showBubbleSize val="0"/>
            </c:dLbl>
            <c:dLbl>
              <c:idx val="3"/>
              <c:tx>
                <c:rich>
                  <a:bodyPr/>
                  <a:lstStyle/>
                  <a:p>
                    <a:r>
                      <a:t>7.76</a:t>
                    </a:r>
                  </a:p>
                </c:rich>
              </c:tx>
              <c:dLblPos val="t"/>
              <c:showLegendKey val="0"/>
              <c:showVal val="1"/>
              <c:showCatName val="0"/>
              <c:showSerName val="0"/>
              <c:showPercent val="0"/>
              <c:showBubbleSize val="0"/>
            </c:dLbl>
            <c:dLbl>
              <c:idx val="4"/>
              <c:tx>
                <c:rich>
                  <a:bodyPr/>
                  <a:lstStyle/>
                  <a:p>
                    <a:r>
                      <a:t>9.96</a:t>
                    </a:r>
                  </a:p>
                </c:rich>
              </c:tx>
              <c:dLblPos val="t"/>
              <c:showLegendKey val="0"/>
              <c:showVal val="1"/>
              <c:showCatName val="0"/>
              <c:showSerName val="0"/>
              <c:showPercent val="0"/>
              <c:showBubbleSize val="0"/>
            </c:dLbl>
            <c:dLbl>
              <c:idx val="5"/>
              <c:tx>
                <c:rich>
                  <a:bodyPr/>
                  <a:lstStyle/>
                  <a:p>
                    <a:r>
                      <a:t>10.0</a:t>
                    </a:r>
                  </a:p>
                </c:rich>
              </c:tx>
              <c:dLblPos val="t"/>
              <c:showLegendKey val="0"/>
              <c:showVal val="1"/>
              <c:showCatName val="0"/>
              <c:showSerName val="0"/>
              <c:showPercent val="0"/>
              <c:showBubbleSize val="0"/>
            </c:dLbl>
            <c:dLbl>
              <c:idx val="6"/>
              <c:tx>
                <c:rich>
                  <a:bodyPr/>
                  <a:lstStyle/>
                  <a:p>
                    <a:r>
                      <a:t>9.97</a:t>
                    </a:r>
                  </a:p>
                </c:rich>
              </c:tx>
              <c:dLblPos val="t"/>
              <c:showLegendKey val="0"/>
              <c:showVal val="1"/>
              <c:showCatName val="0"/>
              <c:showSerName val="0"/>
              <c:showPercent val="0"/>
              <c:showBubbleSize val="0"/>
            </c:dLbl>
            <c:dLbl>
              <c:idx val="7"/>
              <c:tx>
                <c:rich>
                  <a:bodyPr/>
                  <a:lstStyle/>
                  <a:p>
                    <a:r>
                      <a:t>5.74</a:t>
                    </a:r>
                  </a:p>
                </c:rich>
              </c:tx>
              <c:dLblPos val="t"/>
              <c:showLegendKey val="0"/>
              <c:showVal val="1"/>
              <c:showCatName val="0"/>
              <c:showSerName val="0"/>
              <c:showPercent val="0"/>
              <c:showBubbleSize val="0"/>
            </c:dLbl>
            <c:dLbl>
              <c:idx val="8"/>
              <c:tx>
                <c:rich>
                  <a:bodyPr/>
                  <a:lstStyle/>
                  <a:p>
                    <a:r>
                      <a:t>9.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YDRO 5 SENSITIVE 5 BLADE REFILL SENSITIVE 6CT</c:v>
                </c:pt>
                <c:pt idx="1">
                  <c:v>HYDRO 5 SENSITIVE 5 BLADE REFILL SENSITIVE 12CT</c:v>
                </c:pt>
                <c:pt idx="2">
                  <c:v>SCHICK HYDRO 3 SENSITIVE 3 BLADE REFILL SENSITIVE 5CT</c:v>
                </c:pt>
                <c:pt idx="3">
                  <c:v>HYDRO 5 SENSITIVE 5 BLADE REFILL SENSITIVE 4CT</c:v>
                </c:pt>
                <c:pt idx="4">
                  <c:v>HYDRO 5 SENSITIVE 5 BLADE RAZOR SENSITIVE 3CT</c:v>
                </c:pt>
                <c:pt idx="5">
                  <c:v>HYDRO 5 SENSITIVE GRAY HOLIDAY GIFT PACK 5 BLADE RAZOR SENSITIVE 3CT</c:v>
                </c:pt>
                <c:pt idx="6">
                  <c:v>SCHICK HYDRO 3 SENSITIVE 3 BLADE RAZOR SENSITIVE 4CT</c:v>
                </c:pt>
                <c:pt idx="7">
                  <c:v>HYDRO 5 SENSITIVE 5 BLADE RAZOR SENSITIVE 2CT</c:v>
                </c:pt>
                <c:pt idx="8">
                  <c:v>HYDRO 5 DRY SKIN 5 BLADE RAZOR DRY 2CT</c:v>
                </c:pt>
              </c:strCache>
            </c:strRef>
          </c:cat>
          <c:val>
            <c:numRef>
              <c:f>Sheet1!$B$2:$B$10</c:f>
              <c:numCache>
                <c:formatCode>General</c:formatCode>
                <c:ptCount val="9"/>
                <c:pt idx="0">
                  <c:v>14.91</c:v>
                </c:pt>
                <c:pt idx="1">
                  <c:v>26.97</c:v>
                </c:pt>
                <c:pt idx="2">
                  <c:v>9.92</c:v>
                </c:pt>
                <c:pt idx="3">
                  <c:v>7.76</c:v>
                </c:pt>
                <c:pt idx="4">
                  <c:v>9.96</c:v>
                </c:pt>
                <c:pt idx="5">
                  <c:v>10.0</c:v>
                </c:pt>
                <c:pt idx="6">
                  <c:v>9.97</c:v>
                </c:pt>
                <c:pt idx="7">
                  <c:v>5.74</c:v>
                </c:pt>
                <c:pt idx="8">
                  <c:v>9.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6.85</a:t>
                    </a:r>
                  </a:p>
                </c:rich>
              </c:tx>
              <c:dLblPos val="t"/>
              <c:showLegendKey val="0"/>
              <c:showVal val="1"/>
              <c:showCatName val="0"/>
              <c:showSerName val="0"/>
              <c:showPercent val="0"/>
              <c:showBubbleSize val="0"/>
            </c:dLbl>
            <c:dLbl>
              <c:idx val="1"/>
              <c:tx>
                <c:rich>
                  <a:bodyPr/>
                  <a:lstStyle/>
                  <a:p>
                    <a:r>
                      <a:t>13.8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EMO 5 BLADE RAZOR NORMAL 2CT</c:v>
                </c:pt>
                <c:pt idx="1">
                  <c:v>CREMO 5 BLADE REFILL NORMAL 4CT</c:v>
                </c:pt>
              </c:strCache>
            </c:strRef>
          </c:cat>
          <c:val>
            <c:numRef>
              <c:f>Sheet1!$B$2:$B$3</c:f>
              <c:numCache>
                <c:formatCode>General</c:formatCode>
                <c:ptCount val="2"/>
                <c:pt idx="0">
                  <c:v>16.85</c:v>
                </c:pt>
                <c:pt idx="1">
                  <c:v>13.8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7.19</a:t>
                    </a:r>
                  </a:p>
                </c:rich>
              </c:tx>
              <c:dLblPos val="t"/>
              <c:showLegendKey val="0"/>
              <c:showVal val="1"/>
              <c:showCatName val="0"/>
              <c:showSerName val="0"/>
              <c:showPercent val="0"/>
              <c:showBubbleSize val="0"/>
            </c:dLbl>
            <c:dLbl>
              <c:idx val="1"/>
              <c:tx>
                <c:rich>
                  <a:bodyPr/>
                  <a:lstStyle/>
                  <a:p>
                    <a:r>
                      <a:t>7.21</a:t>
                    </a:r>
                  </a:p>
                </c:rich>
              </c:tx>
              <c:dLblPos val="t"/>
              <c:showLegendKey val="0"/>
              <c:showVal val="1"/>
              <c:showCatName val="0"/>
              <c:showSerName val="0"/>
              <c:showPercent val="0"/>
              <c:showBubbleSize val="0"/>
            </c:dLbl>
            <c:dLbl>
              <c:idx val="2"/>
              <c:tx>
                <c:rich>
                  <a:bodyPr/>
                  <a:lstStyle/>
                  <a:p>
                    <a:r>
                      <a:t>11.82</a:t>
                    </a:r>
                  </a:p>
                </c:rich>
              </c:tx>
              <c:dLblPos val="t"/>
              <c:showLegendKey val="0"/>
              <c:showVal val="1"/>
              <c:showCatName val="0"/>
              <c:showSerName val="0"/>
              <c:showPercent val="0"/>
              <c:showBubbleSize val="0"/>
            </c:dLbl>
            <c:dLbl>
              <c:idx val="3"/>
              <c:tx>
                <c:rich>
                  <a:bodyPr/>
                  <a:lstStyle/>
                  <a:p>
                    <a:r>
                      <a:t>20.21</a:t>
                    </a:r>
                  </a:p>
                </c:rich>
              </c:tx>
              <c:dLblPos val="t"/>
              <c:showLegendKey val="0"/>
              <c:showVal val="1"/>
              <c:showCatName val="0"/>
              <c:showSerName val="0"/>
              <c:showPercent val="0"/>
              <c:showBubbleSize val="0"/>
            </c:dLbl>
            <c:dLbl>
              <c:idx val="4"/>
              <c:tx>
                <c:rich>
                  <a:bodyPr/>
                  <a:lstStyle/>
                  <a:p>
                    <a:r>
                      <a:t>15.09</a:t>
                    </a:r>
                  </a:p>
                </c:rich>
              </c:tx>
              <c:dLblPos val="t"/>
              <c:showLegendKey val="0"/>
              <c:showVal val="1"/>
              <c:showCatName val="0"/>
              <c:showSerName val="0"/>
              <c:showPercent val="0"/>
              <c:showBubbleSize val="0"/>
            </c:dLbl>
            <c:dLbl>
              <c:idx val="5"/>
              <c:tx>
                <c:rich>
                  <a:bodyPr/>
                  <a:lstStyle/>
                  <a:p>
                    <a:r>
                      <a:t>11.22</a:t>
                    </a:r>
                  </a:p>
                </c:rich>
              </c:tx>
              <c:dLblPos val="t"/>
              <c:showLegendKey val="0"/>
              <c:showVal val="1"/>
              <c:showCatName val="0"/>
              <c:showSerName val="0"/>
              <c:showPercent val="0"/>
              <c:showBubbleSize val="0"/>
            </c:dLbl>
            <c:dLbl>
              <c:idx val="6"/>
              <c:tx>
                <c:rich>
                  <a:bodyPr/>
                  <a:lstStyle/>
                  <a:p>
                    <a:r>
                      <a:t>14.86</a:t>
                    </a:r>
                  </a:p>
                </c:rich>
              </c:tx>
              <c:dLblPos val="t"/>
              <c:showLegendKey val="0"/>
              <c:showVal val="1"/>
              <c:showCatName val="0"/>
              <c:showSerName val="0"/>
              <c:showPercent val="0"/>
              <c:showBubbleSize val="0"/>
            </c:dLbl>
            <c:dLbl>
              <c:idx val="7"/>
              <c:tx>
                <c:rich>
                  <a:bodyPr/>
                  <a:lstStyle/>
                  <a:p>
                    <a:r>
                      <a:t>10.0</a:t>
                    </a:r>
                  </a:p>
                </c:rich>
              </c:tx>
              <c:dLblPos val="t"/>
              <c:showLegendKey val="0"/>
              <c:showVal val="1"/>
              <c:showCatName val="0"/>
              <c:showSerName val="0"/>
              <c:showPercent val="0"/>
              <c:showBubbleSize val="0"/>
            </c:dLbl>
            <c:dLbl>
              <c:idx val="8"/>
              <c:tx>
                <c:rich>
                  <a:bodyPr/>
                  <a:lstStyle/>
                  <a:p>
                    <a:r>
                      <a:t>9.2</a:t>
                    </a:r>
                  </a:p>
                </c:rich>
              </c:tx>
              <c:dLblPos val="t"/>
              <c:showLegendKey val="0"/>
              <c:showVal val="1"/>
              <c:showCatName val="0"/>
              <c:showSerName val="0"/>
              <c:showPercent val="0"/>
              <c:showBubbleSize val="0"/>
            </c:dLbl>
            <c:dLbl>
              <c:idx val="9"/>
              <c:tx>
                <c:rich>
                  <a:bodyPr/>
                  <a:lstStyle/>
                  <a:p>
                    <a:r>
                      <a:t>9.65</a:t>
                    </a:r>
                  </a:p>
                </c:rich>
              </c:tx>
              <c:dLblPos val="t"/>
              <c:showLegendKey val="0"/>
              <c:showVal val="1"/>
              <c:showCatName val="0"/>
              <c:showSerName val="0"/>
              <c:showPercent val="0"/>
              <c:showBubbleSize val="0"/>
            </c:dLbl>
            <c:dLbl>
              <c:idx val="10"/>
              <c:tx>
                <c:rich>
                  <a:bodyPr/>
                  <a:lstStyle/>
                  <a:p>
                    <a:r>
                      <a:t>8.66</a:t>
                    </a:r>
                  </a:p>
                </c:rich>
              </c:tx>
              <c:dLblPos val="t"/>
              <c:showLegendKey val="0"/>
              <c:showVal val="1"/>
              <c:showCatName val="0"/>
              <c:showSerName val="0"/>
              <c:showPercent val="0"/>
              <c:showBubbleSize val="0"/>
            </c:dLbl>
            <c:dLbl>
              <c:idx val="11"/>
              <c:tx>
                <c:rich>
                  <a:bodyPr/>
                  <a:lstStyle/>
                  <a:p>
                    <a:r>
                      <a:t>16.67</a:t>
                    </a:r>
                  </a:p>
                </c:rich>
              </c:tx>
              <c:dLblPos val="t"/>
              <c:showLegendKey val="0"/>
              <c:showVal val="1"/>
              <c:showCatName val="0"/>
              <c:showSerName val="0"/>
              <c:showPercent val="0"/>
              <c:showBubbleSize val="0"/>
            </c:dLbl>
            <c:dLbl>
              <c:idx val="12"/>
              <c:tx>
                <c:rich>
                  <a:bodyPr/>
                  <a:lstStyle/>
                  <a:p>
                    <a:r>
                      <a:t>9.13</a:t>
                    </a:r>
                  </a:p>
                </c:rich>
              </c:tx>
              <c:dLblPos val="t"/>
              <c:showLegendKey val="0"/>
              <c:showVal val="1"/>
              <c:showCatName val="0"/>
              <c:showSerName val="0"/>
              <c:showPercent val="0"/>
              <c:showBubbleSize val="0"/>
            </c:dLbl>
            <c:dLbl>
              <c:idx val="13"/>
              <c:tx>
                <c:rich>
                  <a:bodyPr/>
                  <a:lstStyle/>
                  <a:p>
                    <a:r>
                      <a:t>22.63</a:t>
                    </a:r>
                  </a:p>
                </c:rich>
              </c:tx>
              <c:dLblPos val="t"/>
              <c:showLegendKey val="0"/>
              <c:showVal val="1"/>
              <c:showCatName val="0"/>
              <c:showSerName val="0"/>
              <c:showPercent val="0"/>
              <c:showBubbleSize val="0"/>
            </c:dLbl>
            <c:dLbl>
              <c:idx val="14"/>
              <c:tx>
                <c:rich>
                  <a:bodyPr/>
                  <a:lstStyle/>
                  <a:p>
                    <a:r>
                      <a:t>16.0</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CHICK XTREME 3 SENSITIVE BLACK 3 BLADE DISPOSABLE SENSITIVE 4CT</c:v>
                </c:pt>
                <c:pt idx="1">
                  <c:v>SCHICK XTREME 2 SENSITIVE 2 BLADE DISPOSABLE NORMAL 12CT</c:v>
                </c:pt>
                <c:pt idx="2">
                  <c:v>SCHICK XTREME 3 SENSITIVE GREEN 3 BLADE DISPOSABLE SENSITIVE 8CT</c:v>
                </c:pt>
                <c:pt idx="3">
                  <c:v>SCHICK XTREME 3 SENSITIVE BLACK GREEN 3 BLADE DISPOSABLE SENSITIVE 20CT</c:v>
                </c:pt>
                <c:pt idx="4">
                  <c:v>SCHICK XTREME 3 SENSITIVE BLACK GREEN 3 BLADE DISPOSABLE SENSITIVE 12CT</c:v>
                </c:pt>
                <c:pt idx="5">
                  <c:v>HYDRO 5 5 BLADE DISPOSABLE NORMAL 3CT</c:v>
                </c:pt>
                <c:pt idx="6">
                  <c:v>SCHICK XTREME 3 SENSITIVE GREEN 3 BLADE DISPOSABLE SENSITIVE 12CT</c:v>
                </c:pt>
                <c:pt idx="7">
                  <c:v>SCHICK XTREME 3 SENSITIVE GREEN HOLIDAY GIFT PACK 3 BLADE DISPOSABLE SENSITIVE 8CT</c:v>
                </c:pt>
                <c:pt idx="8">
                  <c:v>SCHICK XTREME 3 SENSITIVE GREEN BLACK 3 BLADE DISPOSABLE SENSITIVE 4CT</c:v>
                </c:pt>
                <c:pt idx="9">
                  <c:v>SCHICK XTREME 3 FACE AND BODY 3 BLADE DISPOSABLE NORMAL 4CT</c:v>
                </c:pt>
                <c:pt idx="10">
                  <c:v>SCHICK XTREME 4 OUTLAST 4 BLADE DISPOSABLE NORMAL 3CT</c:v>
                </c:pt>
                <c:pt idx="11">
                  <c:v>SCHICK XTREME 3 SENSITIVE GREEN BLACK 3 BLADE DISPOSABLE SENSITIVE 8CT</c:v>
                </c:pt>
                <c:pt idx="12">
                  <c:v>SCHICK XTREME 3 DUO COMFORT 3 BLADE DISPOSABLE NORMAL 4CT</c:v>
                </c:pt>
                <c:pt idx="13">
                  <c:v>SCHICK XTREME 3 SENSITIVE BLACK 3 BLADE DISPOSABLE SENSITIVE 20CT</c:v>
                </c:pt>
                <c:pt idx="14">
                  <c:v>SCHICK XTREME 3 SENSITIVE GREEN BLACK 3 BLADE DISPOSABLE SENSITIVE 12CT</c:v>
                </c:pt>
              </c:strCache>
            </c:strRef>
          </c:cat>
          <c:val>
            <c:numRef>
              <c:f>Sheet1!$B$2:$B$16</c:f>
              <c:numCache>
                <c:formatCode>General</c:formatCode>
                <c:ptCount val="15"/>
                <c:pt idx="0">
                  <c:v>7.19</c:v>
                </c:pt>
                <c:pt idx="1">
                  <c:v>7.21</c:v>
                </c:pt>
                <c:pt idx="2">
                  <c:v>11.82</c:v>
                </c:pt>
                <c:pt idx="3">
                  <c:v>20.21</c:v>
                </c:pt>
                <c:pt idx="4">
                  <c:v>15.09</c:v>
                </c:pt>
                <c:pt idx="5">
                  <c:v>11.22</c:v>
                </c:pt>
                <c:pt idx="6">
                  <c:v>14.86</c:v>
                </c:pt>
                <c:pt idx="7">
                  <c:v>10.0</c:v>
                </c:pt>
                <c:pt idx="8">
                  <c:v>9.2</c:v>
                </c:pt>
                <c:pt idx="9">
                  <c:v>9.65</c:v>
                </c:pt>
                <c:pt idx="10">
                  <c:v>8.66</c:v>
                </c:pt>
                <c:pt idx="11">
                  <c:v>16.67</c:v>
                </c:pt>
                <c:pt idx="12">
                  <c:v>9.13</c:v>
                </c:pt>
                <c:pt idx="13">
                  <c:v>22.63</c:v>
                </c:pt>
                <c:pt idx="14">
                  <c:v>16.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22</a:t>
                    </a:r>
                  </a:p>
                </c:rich>
              </c:tx>
              <c:dLblPos val="t"/>
              <c:showLegendKey val="0"/>
              <c:showVal val="1"/>
              <c:showCatName val="0"/>
              <c:showSerName val="0"/>
              <c:showPercent val="0"/>
              <c:showBubbleSize val="0"/>
            </c:dLbl>
            <c:dLbl>
              <c:idx val="1"/>
              <c:tx>
                <c:rich>
                  <a:bodyPr/>
                  <a:lstStyle/>
                  <a:p>
                    <a:r>
                      <a:t>22.86</a:t>
                    </a:r>
                  </a:p>
                </c:rich>
              </c:tx>
              <c:dLblPos val="t"/>
              <c:showLegendKey val="0"/>
              <c:showVal val="1"/>
              <c:showCatName val="0"/>
              <c:showSerName val="0"/>
              <c:showPercent val="0"/>
              <c:showBubbleSize val="0"/>
            </c:dLbl>
            <c:dLbl>
              <c:idx val="2"/>
              <c:tx>
                <c:rich>
                  <a:bodyPr/>
                  <a:lstStyle/>
                  <a:p>
                    <a:r>
                      <a:t>25.21</a:t>
                    </a:r>
                  </a:p>
                </c:rich>
              </c:tx>
              <c:dLblPos val="t"/>
              <c:showLegendKey val="0"/>
              <c:showVal val="1"/>
              <c:showCatName val="0"/>
              <c:showSerName val="0"/>
              <c:showPercent val="0"/>
              <c:showBubbleSize val="0"/>
            </c:dLbl>
            <c:dLbl>
              <c:idx val="3"/>
              <c:tx>
                <c:rich>
                  <a:bodyPr/>
                  <a:lstStyle/>
                  <a:p>
                    <a:r>
                      <a:t>22.0</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CHICK XTREME 3 SENSITIVE BLACK GREEN 3 BLADE DISPOSABLE SENSITIVE 20CT</c:v>
                </c:pt>
                <c:pt idx="1">
                  <c:v>SCHICK XTREME 3 SENSITIVE BLACK 3 BLADE DISPOSABLE SENSITIVE 20CT</c:v>
                </c:pt>
                <c:pt idx="2">
                  <c:v>SCHICK XTREME 3 SENSITIVE 3 BLADE DISPOSABLE SENSITIVE 25CT</c:v>
                </c:pt>
                <c:pt idx="3">
                  <c:v>SCHICK XTREME 3 3 BLADE DISPOSABLE SENSITIVE 20CT</c:v>
                </c:pt>
              </c:strCache>
            </c:strRef>
          </c:cat>
          <c:val>
            <c:numRef>
              <c:f>Sheet1!$B$2:$B$5</c:f>
              <c:numCache>
                <c:formatCode>General</c:formatCode>
                <c:ptCount val="4"/>
                <c:pt idx="0">
                  <c:v>20.22</c:v>
                </c:pt>
                <c:pt idx="1">
                  <c:v>22.86</c:v>
                </c:pt>
                <c:pt idx="2">
                  <c:v>25.21</c:v>
                </c:pt>
                <c:pt idx="3">
                  <c:v>22.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5</a:t>
                    </a:r>
                  </a:p>
                </c:rich>
              </c:tx>
              <c:dLblPos val="t"/>
              <c:showLegendKey val="0"/>
              <c:showVal val="1"/>
              <c:showCatName val="0"/>
              <c:showSerName val="0"/>
              <c:showPercent val="0"/>
              <c:showBubbleSize val="0"/>
            </c:dLbl>
            <c:dLbl>
              <c:idx val="1"/>
              <c:tx>
                <c:rich>
                  <a:bodyPr/>
                  <a:lstStyle/>
                  <a:p>
                    <a:r>
                      <a:t>11.01</a:t>
                    </a:r>
                  </a:p>
                </c:rich>
              </c:tx>
              <c:dLblPos val="t"/>
              <c:showLegendKey val="0"/>
              <c:showVal val="1"/>
              <c:showCatName val="0"/>
              <c:showSerName val="0"/>
              <c:showPercent val="0"/>
              <c:showBubbleSize val="0"/>
            </c:dLbl>
            <c:dLbl>
              <c:idx val="2"/>
              <c:tx>
                <c:rich>
                  <a:bodyPr/>
                  <a:lstStyle/>
                  <a:p>
                    <a:r>
                      <a:t>6.5</a:t>
                    </a:r>
                  </a:p>
                </c:rich>
              </c:tx>
              <c:dLblPos val="t"/>
              <c:showLegendKey val="0"/>
              <c:showVal val="1"/>
              <c:showCatName val="0"/>
              <c:showSerName val="0"/>
              <c:showPercent val="0"/>
              <c:showBubbleSize val="0"/>
            </c:dLbl>
            <c:dLbl>
              <c:idx val="3"/>
              <c:tx>
                <c:rich>
                  <a:bodyPr/>
                  <a:lstStyle/>
                  <a:p>
                    <a:r>
                      <a:t>15.03</a:t>
                    </a:r>
                  </a:p>
                </c:rich>
              </c:tx>
              <c:dLblPos val="t"/>
              <c:showLegendKey val="0"/>
              <c:showVal val="1"/>
              <c:showCatName val="0"/>
              <c:showSerName val="0"/>
              <c:showPercent val="0"/>
              <c:showBubbleSize val="0"/>
            </c:dLbl>
            <c:dLbl>
              <c:idx val="4"/>
              <c:tx>
                <c:rich>
                  <a:bodyPr/>
                  <a:lstStyle/>
                  <a:p>
                    <a:r>
                      <a:t>10.0</a:t>
                    </a:r>
                  </a:p>
                </c:rich>
              </c:tx>
              <c:dLblPos val="t"/>
              <c:showLegendKey val="0"/>
              <c:showVal val="1"/>
              <c:showCatName val="0"/>
              <c:showSerName val="0"/>
              <c:showPercent val="0"/>
              <c:showBubbleSize val="0"/>
            </c:dLbl>
            <c:dLbl>
              <c:idx val="5"/>
              <c:tx>
                <c:rich>
                  <a:bodyPr/>
                  <a:lstStyle/>
                  <a:p>
                    <a:r>
                      <a:t>11.02</a:t>
                    </a:r>
                  </a:p>
                </c:rich>
              </c:tx>
              <c:dLblPos val="t"/>
              <c:showLegendKey val="0"/>
              <c:showVal val="1"/>
              <c:showCatName val="0"/>
              <c:showSerName val="0"/>
              <c:showPercent val="0"/>
              <c:showBubbleSize val="0"/>
            </c:dLbl>
            <c:dLbl>
              <c:idx val="6"/>
              <c:tx>
                <c:rich>
                  <a:bodyPr/>
                  <a:lstStyle/>
                  <a:p>
                    <a:r>
                      <a:t>6.53</a:t>
                    </a:r>
                  </a:p>
                </c:rich>
              </c:tx>
              <c:dLblPos val="t"/>
              <c:showLegendKey val="0"/>
              <c:showVal val="1"/>
              <c:showCatName val="0"/>
              <c:showSerName val="0"/>
              <c:showPercent val="0"/>
              <c:showBubbleSize val="0"/>
            </c:dLbl>
            <c:dLbl>
              <c:idx val="7"/>
              <c:tx>
                <c:rich>
                  <a:bodyPr/>
                  <a:lstStyle/>
                  <a:p>
                    <a:r>
                      <a:t>15.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SCHICK XTREME 2 SENSITIVE 2 BLADE DISPOSABLE NORMAL 12CT</c:v>
                </c:pt>
                <c:pt idx="1">
                  <c:v>SCHICK XTREME 3 SENSITIVE GREEN 3 BLADE DISPOSABLE SENSITIVE 8CT</c:v>
                </c:pt>
                <c:pt idx="2">
                  <c:v>SCHICK XTREME 3 SENSITIVE BLACK 3 BLADE DISPOSABLE SENSITIVE 4CT</c:v>
                </c:pt>
                <c:pt idx="3">
                  <c:v>SCHICK XTREME 3 SENSITIVE BLACK GREEN 3 BLADE DISPOSABLE SENSITIVE 12CT</c:v>
                </c:pt>
                <c:pt idx="4">
                  <c:v>SCHICK XTREME 3 SENSITIVE GREEN HOLIDAY GIFT PACK 3 BLADE DISPOSABLE SENSITIVE 8CT</c:v>
                </c:pt>
                <c:pt idx="5">
                  <c:v>SCHICK XTREME 3 SENSITIVE GREEN BLACK 3 BLADE DISPOSABLE SENSITIVE 8CT</c:v>
                </c:pt>
                <c:pt idx="6">
                  <c:v>SCHICK XTREME 3 SENSITIVE GREEN BLACK 3 BLADE DISPOSABLE SENSITIVE 4CT</c:v>
                </c:pt>
                <c:pt idx="7">
                  <c:v>SCHICK XTREME 3 SENSITIVE GREEN BLACK 3 BLADE DISPOSABLE SENSITIVE 12CT</c:v>
                </c:pt>
              </c:strCache>
            </c:strRef>
          </c:cat>
          <c:val>
            <c:numRef>
              <c:f>Sheet1!$B$2:$B$9</c:f>
              <c:numCache>
                <c:formatCode>General</c:formatCode>
                <c:ptCount val="8"/>
                <c:pt idx="0">
                  <c:v>6.5</c:v>
                </c:pt>
                <c:pt idx="1">
                  <c:v>11.01</c:v>
                </c:pt>
                <c:pt idx="2">
                  <c:v>6.5</c:v>
                </c:pt>
                <c:pt idx="3">
                  <c:v>15.03</c:v>
                </c:pt>
                <c:pt idx="4">
                  <c:v>10.0</c:v>
                </c:pt>
                <c:pt idx="5">
                  <c:v>11.02</c:v>
                </c:pt>
                <c:pt idx="6">
                  <c:v>6.53</c:v>
                </c:pt>
                <c:pt idx="7">
                  <c:v>15.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09</a:t>
                    </a:r>
                  </a:p>
                </c:rich>
              </c:tx>
              <c:dLblPos val="t"/>
              <c:showLegendKey val="0"/>
              <c:showVal val="1"/>
              <c:showCatName val="0"/>
              <c:showSerName val="0"/>
              <c:showPercent val="0"/>
              <c:showBubbleSize val="0"/>
            </c:dLbl>
            <c:dLbl>
              <c:idx val="1"/>
              <c:tx>
                <c:rich>
                  <a:bodyPr/>
                  <a:lstStyle/>
                  <a:p>
                    <a:r>
                      <a:t>7.29</a:t>
                    </a:r>
                  </a:p>
                </c:rich>
              </c:tx>
              <c:dLblPos val="t"/>
              <c:showLegendKey val="0"/>
              <c:showVal val="1"/>
              <c:showCatName val="0"/>
              <c:showSerName val="0"/>
              <c:showPercent val="0"/>
              <c:showBubbleSize val="0"/>
            </c:dLbl>
            <c:dLbl>
              <c:idx val="2"/>
              <c:tx>
                <c:rich>
                  <a:bodyPr/>
                  <a:lstStyle/>
                  <a:p>
                    <a:r>
                      <a:t>7.27</a:t>
                    </a:r>
                  </a:p>
                </c:rich>
              </c:tx>
              <c:dLblPos val="t"/>
              <c:showLegendKey val="0"/>
              <c:showVal val="1"/>
              <c:showCatName val="0"/>
              <c:showSerName val="0"/>
              <c:showPercent val="0"/>
              <c:showBubbleSize val="0"/>
            </c:dLbl>
            <c:dLbl>
              <c:idx val="3"/>
              <c:tx>
                <c:rich>
                  <a:bodyPr/>
                  <a:lstStyle/>
                  <a:p>
                    <a:r>
                      <a:t>11.92</a:t>
                    </a:r>
                  </a:p>
                </c:rich>
              </c:tx>
              <c:dLblPos val="t"/>
              <c:showLegendKey val="0"/>
              <c:showVal val="1"/>
              <c:showCatName val="0"/>
              <c:showSerName val="0"/>
              <c:showPercent val="0"/>
              <c:showBubbleSize val="0"/>
            </c:dLbl>
            <c:dLbl>
              <c:idx val="4"/>
              <c:tx>
                <c:rich>
                  <a:bodyPr/>
                  <a:lstStyle/>
                  <a:p>
                    <a:r>
                      <a:t>9.2</a:t>
                    </a:r>
                  </a:p>
                </c:rich>
              </c:tx>
              <c:dLblPos val="t"/>
              <c:showLegendKey val="0"/>
              <c:showVal val="1"/>
              <c:showCatName val="0"/>
              <c:showSerName val="0"/>
              <c:showPercent val="0"/>
              <c:showBubbleSize val="0"/>
            </c:dLbl>
            <c:dLbl>
              <c:idx val="5"/>
              <c:tx>
                <c:rich>
                  <a:bodyPr/>
                  <a:lstStyle/>
                  <a:p>
                    <a:r>
                      <a:t>16.66</a:t>
                    </a:r>
                  </a:p>
                </c:rich>
              </c:tx>
              <c:dLblPos val="t"/>
              <c:showLegendKey val="0"/>
              <c:showVal val="1"/>
              <c:showCatName val="0"/>
              <c:showSerName val="0"/>
              <c:showPercent val="0"/>
              <c:showBubbleSize val="0"/>
            </c:dLbl>
            <c:dLbl>
              <c:idx val="6"/>
              <c:tx>
                <c:rich>
                  <a:bodyPr/>
                  <a:lstStyle/>
                  <a:p>
                    <a:r>
                      <a:t>16.0</a:t>
                    </a:r>
                  </a:p>
                </c:rich>
              </c:tx>
              <c:dLblPos val="t"/>
              <c:showLegendKey val="0"/>
              <c:showVal val="1"/>
              <c:showCatName val="0"/>
              <c:showSerName val="0"/>
              <c:showPercent val="0"/>
              <c:showBubbleSize val="0"/>
            </c:dLbl>
            <c:dLbl>
              <c:idx val="7"/>
              <c:tx>
                <c:rich>
                  <a:bodyPr/>
                  <a:lstStyle/>
                  <a:p>
                    <a:r>
                      <a:t>11.19</a:t>
                    </a:r>
                  </a:p>
                </c:rich>
              </c:tx>
              <c:dLblPos val="t"/>
              <c:showLegendKey val="0"/>
              <c:showVal val="1"/>
              <c:showCatName val="0"/>
              <c:showSerName val="0"/>
              <c:showPercent val="0"/>
              <c:showBubbleSize val="0"/>
            </c:dLbl>
            <c:dLbl>
              <c:idx val="8"/>
              <c:tx>
                <c:rich>
                  <a:bodyPr/>
                  <a:lstStyle/>
                  <a:p>
                    <a:r>
                      <a:t>15.18</a:t>
                    </a:r>
                  </a:p>
                </c:rich>
              </c:tx>
              <c:dLblPos val="t"/>
              <c:showLegendKey val="0"/>
              <c:showVal val="1"/>
              <c:showCatName val="0"/>
              <c:showSerName val="0"/>
              <c:showPercent val="0"/>
              <c:showBubbleSize val="0"/>
            </c:dLbl>
            <c:dLbl>
              <c:idx val="9"/>
              <c:tx>
                <c:rich>
                  <a:bodyPr/>
                  <a:lstStyle/>
                  <a:p>
                    <a:r>
                      <a:t>15.11</a:t>
                    </a:r>
                  </a:p>
                </c:rich>
              </c:tx>
              <c:dLblPos val="t"/>
              <c:showLegendKey val="0"/>
              <c:showVal val="1"/>
              <c:showCatName val="0"/>
              <c:showSerName val="0"/>
              <c:showPercent val="0"/>
              <c:showBubbleSize val="0"/>
            </c:dLbl>
            <c:dLbl>
              <c:idx val="10"/>
              <c:tx>
                <c:rich>
                  <a:bodyPr/>
                  <a:lstStyle/>
                  <a:p>
                    <a:r>
                      <a:t>15.22</a:t>
                    </a:r>
                  </a:p>
                </c:rich>
              </c:tx>
              <c:dLblPos val="t"/>
              <c:showLegendKey val="0"/>
              <c:showVal val="1"/>
              <c:showCatName val="0"/>
              <c:showSerName val="0"/>
              <c:showPercent val="0"/>
              <c:showBubbleSize val="0"/>
            </c:dLbl>
            <c:dLbl>
              <c:idx val="11"/>
              <c:tx>
                <c:rich>
                  <a:bodyPr/>
                  <a:lstStyle/>
                  <a:p>
                    <a:r>
                      <a:t>10.59</a:t>
                    </a:r>
                  </a:p>
                </c:rich>
              </c:tx>
              <c:dLblPos val="t"/>
              <c:showLegendKey val="0"/>
              <c:showVal val="1"/>
              <c:showCatName val="0"/>
              <c:showSerName val="0"/>
              <c:showPercent val="0"/>
              <c:showBubbleSize val="0"/>
            </c:dLbl>
            <c:dLbl>
              <c:idx val="12"/>
              <c:tx>
                <c:rich>
                  <a:bodyPr/>
                  <a:lstStyle/>
                  <a:p>
                    <a:r>
                      <a:t>26.91</a:t>
                    </a:r>
                  </a:p>
                </c:rich>
              </c:tx>
              <c:dLblPos val="t"/>
              <c:showLegendKey val="0"/>
              <c:showVal val="1"/>
              <c:showCatName val="0"/>
              <c:showSerName val="0"/>
              <c:showPercent val="0"/>
              <c:showBubbleSize val="0"/>
            </c:dLbl>
            <c:dLbl>
              <c:idx val="13"/>
              <c:tx>
                <c:rich>
                  <a:bodyPr/>
                  <a:lstStyle/>
                  <a:p>
                    <a:r>
                      <a:t>16.88</a:t>
                    </a:r>
                  </a:p>
                </c:rich>
              </c:tx>
              <c:dLblPos val="t"/>
              <c:showLegendKey val="0"/>
              <c:showVal val="1"/>
              <c:showCatName val="0"/>
              <c:showSerName val="0"/>
              <c:showPercent val="0"/>
              <c:showBubbleSize val="0"/>
            </c:dLbl>
            <c:dLbl>
              <c:idx val="14"/>
              <c:tx>
                <c:rich>
                  <a:bodyPr/>
                  <a:lstStyle/>
                  <a:p>
                    <a:r>
                      <a:t>13.5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CHICK XTREME 3 SENSITIVE BLACK GREEN 3 BLADE DISPOSABLE SENSITIVE 20CT</c:v>
                </c:pt>
                <c:pt idx="1">
                  <c:v>SCHICK XTREME 2 SENSITIVE 2 BLADE DISPOSABLE NORMAL 12CT</c:v>
                </c:pt>
                <c:pt idx="2">
                  <c:v>SCHICK XTREME 3 SENSITIVE BLACK 3 BLADE DISPOSABLE SENSITIVE 4CT</c:v>
                </c:pt>
                <c:pt idx="3">
                  <c:v>SCHICK XTREME 3 SENSITIVE GREEN 3 BLADE DISPOSABLE SENSITIVE 8CT</c:v>
                </c:pt>
                <c:pt idx="4">
                  <c:v>SCHICK XTREME 3 SENSITIVE GREEN BLACK 3 BLADE DISPOSABLE SENSITIVE 4CT</c:v>
                </c:pt>
                <c:pt idx="5">
                  <c:v>SCHICK XTREME 3 SENSITIVE GREEN BLACK 3 BLADE DISPOSABLE SENSITIVE 8CT</c:v>
                </c:pt>
                <c:pt idx="6">
                  <c:v>SCHICK XTREME 3 SENSITIVE GREEN BLACK 3 BLADE DISPOSABLE SENSITIVE 12CT</c:v>
                </c:pt>
                <c:pt idx="7">
                  <c:v>HYDRO 5 5 BLADE DISPOSABLE NORMAL 3CT</c:v>
                </c:pt>
                <c:pt idx="8">
                  <c:v>SCHICK XTREME 3 SENSITIVE GREEN 3 BLADE DISPOSABLE SENSITIVE 12CT</c:v>
                </c:pt>
                <c:pt idx="9">
                  <c:v>SCHICK XTREME 3 SENSITIVE BLACK GREEN 3 BLADE DISPOSABLE SENSITIVE 12CT</c:v>
                </c:pt>
                <c:pt idx="10">
                  <c:v>HYDRO 5 SENSITIVE 5 BLADE REFILL SENSITIVE 6CT</c:v>
                </c:pt>
                <c:pt idx="11">
                  <c:v>HYDRO 5 SENSITIVE 5 BLADE RAZOR SENSITIVE 3CT</c:v>
                </c:pt>
                <c:pt idx="12">
                  <c:v>HYDRO 5 SENSITIVE 5 BLADE REFILL SENSITIVE 12CT</c:v>
                </c:pt>
                <c:pt idx="13">
                  <c:v>HYDRO 5 DRY SKIN 5 BLADE REFILL DRY 6CT</c:v>
                </c:pt>
                <c:pt idx="14">
                  <c:v>SCHICK QUATTRO FOR MEN 4 BLADE REFILL NORMAL 8CT</c:v>
                </c:pt>
              </c:strCache>
            </c:strRef>
          </c:cat>
          <c:val>
            <c:numRef>
              <c:f>Sheet1!$B$2:$B$16</c:f>
              <c:numCache>
                <c:formatCode>General</c:formatCode>
                <c:ptCount val="15"/>
                <c:pt idx="0">
                  <c:v>20.09</c:v>
                </c:pt>
                <c:pt idx="1">
                  <c:v>7.29</c:v>
                </c:pt>
                <c:pt idx="2">
                  <c:v>7.27</c:v>
                </c:pt>
                <c:pt idx="3">
                  <c:v>11.92</c:v>
                </c:pt>
                <c:pt idx="4">
                  <c:v>9.2</c:v>
                </c:pt>
                <c:pt idx="5">
                  <c:v>16.66</c:v>
                </c:pt>
                <c:pt idx="6">
                  <c:v>16.0</c:v>
                </c:pt>
                <c:pt idx="7">
                  <c:v>11.19</c:v>
                </c:pt>
                <c:pt idx="8">
                  <c:v>15.18</c:v>
                </c:pt>
                <c:pt idx="9">
                  <c:v>15.11</c:v>
                </c:pt>
                <c:pt idx="10">
                  <c:v>15.22</c:v>
                </c:pt>
                <c:pt idx="11">
                  <c:v>10.59</c:v>
                </c:pt>
                <c:pt idx="12">
                  <c:v>26.91</c:v>
                </c:pt>
                <c:pt idx="13">
                  <c:v>16.88</c:v>
                </c:pt>
                <c:pt idx="14">
                  <c:v>13.5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1</a:t>
                    </a:r>
                  </a:p>
                </c:rich>
              </c:tx>
              <c:dLblPos val="t"/>
              <c:showLegendKey val="0"/>
              <c:showVal val="1"/>
              <c:showCatName val="0"/>
              <c:showSerName val="0"/>
              <c:showPercent val="0"/>
              <c:showBubbleSize val="0"/>
            </c:dLbl>
            <c:dLbl>
              <c:idx val="1"/>
              <c:tx>
                <c:rich>
                  <a:bodyPr/>
                  <a:lstStyle/>
                  <a:p>
                    <a:r>
                      <a:t>24.7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CHICK XTREME 3 SENSITIVE BLACK GREEN 3 BLADE DISPOSABLE SENSITIVE 20CT</c:v>
                </c:pt>
                <c:pt idx="1">
                  <c:v>SCHICK XTREME 3 SENSITIVE BLACK 3 BLADE DISPOSABLE SENSITIVE 20CT</c:v>
                </c:pt>
              </c:strCache>
            </c:strRef>
          </c:cat>
          <c:val>
            <c:numRef>
              <c:f>Sheet1!$B$2:$B$3</c:f>
              <c:numCache>
                <c:formatCode>General</c:formatCode>
                <c:ptCount val="2"/>
                <c:pt idx="0">
                  <c:v>20.1</c:v>
                </c:pt>
                <c:pt idx="1">
                  <c:v>24.7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5</a:t>
                    </a:r>
                  </a:p>
                </c:rich>
              </c:tx>
              <c:dLblPos val="t"/>
              <c:showLegendKey val="0"/>
              <c:showVal val="1"/>
              <c:showCatName val="0"/>
              <c:showSerName val="0"/>
              <c:showPercent val="0"/>
              <c:showBubbleSize val="0"/>
            </c:dLbl>
            <c:dLbl>
              <c:idx val="1"/>
              <c:tx>
                <c:rich>
                  <a:bodyPr/>
                  <a:lstStyle/>
                  <a:p>
                    <a:r>
                      <a:t>11.02</a:t>
                    </a:r>
                  </a:p>
                </c:rich>
              </c:tx>
              <c:dLblPos val="t"/>
              <c:showLegendKey val="0"/>
              <c:showVal val="1"/>
              <c:showCatName val="0"/>
              <c:showSerName val="0"/>
              <c:showPercent val="0"/>
              <c:showBubbleSize val="0"/>
            </c:dLbl>
            <c:dLbl>
              <c:idx val="2"/>
              <c:tx>
                <c:rich>
                  <a:bodyPr/>
                  <a:lstStyle/>
                  <a:p>
                    <a:r>
                      <a:t>11.02</a:t>
                    </a:r>
                  </a:p>
                </c:rich>
              </c:tx>
              <c:dLblPos val="t"/>
              <c:showLegendKey val="0"/>
              <c:showVal val="1"/>
              <c:showCatName val="0"/>
              <c:showSerName val="0"/>
              <c:showPercent val="0"/>
              <c:showBubbleSize val="0"/>
            </c:dLbl>
            <c:dLbl>
              <c:idx val="3"/>
              <c:tx>
                <c:rich>
                  <a:bodyPr/>
                  <a:lstStyle/>
                  <a:p>
                    <a:r>
                      <a:t>6.53</a:t>
                    </a:r>
                  </a:p>
                </c:rich>
              </c:tx>
              <c:dLblPos val="t"/>
              <c:showLegendKey val="0"/>
              <c:showVal val="1"/>
              <c:showCatName val="0"/>
              <c:showSerName val="0"/>
              <c:showPercent val="0"/>
              <c:showBubbleSize val="0"/>
            </c:dLbl>
            <c:dLbl>
              <c:idx val="4"/>
              <c:tx>
                <c:rich>
                  <a:bodyPr/>
                  <a:lstStyle/>
                  <a:p>
                    <a:r>
                      <a:t>15.1</a:t>
                    </a:r>
                  </a:p>
                </c:rich>
              </c:tx>
              <c:dLblPos val="t"/>
              <c:showLegendKey val="0"/>
              <c:showVal val="1"/>
              <c:showCatName val="0"/>
              <c:showSerName val="0"/>
              <c:showPercent val="0"/>
              <c:showBubbleSize val="0"/>
            </c:dLbl>
            <c:dLbl>
              <c:idx val="5"/>
              <c:tx>
                <c:rich>
                  <a:bodyPr/>
                  <a:lstStyle/>
                  <a:p>
                    <a:r>
                      <a:t>6.49</a:t>
                    </a:r>
                  </a:p>
                </c:rich>
              </c:tx>
              <c:dLblPos val="t"/>
              <c:showLegendKey val="0"/>
              <c:showVal val="1"/>
              <c:showCatName val="0"/>
              <c:showSerName val="0"/>
              <c:showPercent val="0"/>
              <c:showBubbleSize val="0"/>
            </c:dLbl>
            <c:dLbl>
              <c:idx val="6"/>
              <c:tx>
                <c:rich>
                  <a:bodyPr/>
                  <a:lstStyle/>
                  <a:p>
                    <a:r>
                      <a:t>15.04</a:t>
                    </a:r>
                  </a:p>
                </c:rich>
              </c:tx>
              <c:dLblPos val="t"/>
              <c:showLegendKey val="0"/>
              <c:showVal val="1"/>
              <c:showCatName val="0"/>
              <c:showSerName val="0"/>
              <c:showPercent val="0"/>
              <c:showBubbleSize val="0"/>
            </c:dLbl>
            <c:dLbl>
              <c:idx val="7"/>
              <c:tx>
                <c:rich>
                  <a:bodyPr/>
                  <a:lstStyle/>
                  <a:p>
                    <a:r>
                      <a:t>14.73</a:t>
                    </a:r>
                  </a:p>
                </c:rich>
              </c:tx>
              <c:dLblPos val="t"/>
              <c:showLegendKey val="0"/>
              <c:showVal val="1"/>
              <c:showCatName val="0"/>
              <c:showSerName val="0"/>
              <c:showPercent val="0"/>
              <c:showBubbleSize val="0"/>
            </c:dLbl>
            <c:dLbl>
              <c:idx val="8"/>
              <c:tx>
                <c:rich>
                  <a:bodyPr/>
                  <a:lstStyle/>
                  <a:p>
                    <a:r>
                      <a:t>9.96</a:t>
                    </a:r>
                  </a:p>
                </c:rich>
              </c:tx>
              <c:dLblPos val="t"/>
              <c:showLegendKey val="0"/>
              <c:showVal val="1"/>
              <c:showCatName val="0"/>
              <c:showSerName val="0"/>
              <c:showPercent val="0"/>
              <c:showBubbleSize val="0"/>
            </c:dLbl>
            <c:dLbl>
              <c:idx val="9"/>
              <c:tx>
                <c:rich>
                  <a:bodyPr/>
                  <a:lstStyle/>
                  <a:p>
                    <a:r>
                      <a:t>26.51</a:t>
                    </a:r>
                  </a:p>
                </c:rich>
              </c:tx>
              <c:dLblPos val="t"/>
              <c:showLegendKey val="0"/>
              <c:showVal val="1"/>
              <c:showCatName val="0"/>
              <c:showSerName val="0"/>
              <c:showPercent val="0"/>
              <c:showBubbleSize val="0"/>
            </c:dLbl>
            <c:dLbl>
              <c:idx val="10"/>
              <c:tx>
                <c:rich>
                  <a:bodyPr/>
                  <a:lstStyle/>
                  <a:p>
                    <a:r>
                      <a:t>16.85</a:t>
                    </a:r>
                  </a:p>
                </c:rich>
              </c:tx>
              <c:dLblPos val="t"/>
              <c:showLegendKey val="0"/>
              <c:showVal val="1"/>
              <c:showCatName val="0"/>
              <c:showSerName val="0"/>
              <c:showPercent val="0"/>
              <c:showBubbleSize val="0"/>
            </c:dLbl>
            <c:dLbl>
              <c:idx val="11"/>
              <c:tx>
                <c:rich>
                  <a:bodyPr/>
                  <a:lstStyle/>
                  <a:p>
                    <a:r>
                      <a:t>14.99</a:t>
                    </a:r>
                  </a:p>
                </c:rich>
              </c:tx>
              <c:dLblPos val="t"/>
              <c:showLegendKey val="0"/>
              <c:showVal val="1"/>
              <c:showCatName val="0"/>
              <c:showSerName val="0"/>
              <c:showPercent val="0"/>
              <c:showBubbleSize val="0"/>
            </c:dLbl>
            <c:dLbl>
              <c:idx val="12"/>
              <c:tx>
                <c:rich>
                  <a:bodyPr/>
                  <a:lstStyle/>
                  <a:p>
                    <a:r>
                      <a:t>9.53</a:t>
                    </a:r>
                  </a:p>
                </c:rich>
              </c:tx>
              <c:dLblPos val="t"/>
              <c:showLegendKey val="0"/>
              <c:showVal val="1"/>
              <c:showCatName val="0"/>
              <c:showSerName val="0"/>
              <c:showPercent val="0"/>
              <c:showBubbleSize val="0"/>
            </c:dLbl>
            <c:dLbl>
              <c:idx val="13"/>
              <c:tx>
                <c:rich>
                  <a:bodyPr/>
                  <a:lstStyle/>
                  <a:p>
                    <a:r>
                      <a:t>9.99</a:t>
                    </a:r>
                  </a:p>
                </c:rich>
              </c:tx>
              <c:dLblPos val="t"/>
              <c:showLegendKey val="0"/>
              <c:showVal val="1"/>
              <c:showCatName val="0"/>
              <c:showSerName val="0"/>
              <c:showPercent val="0"/>
              <c:showBubbleSize val="0"/>
            </c:dLbl>
            <c:dLbl>
              <c:idx val="14"/>
              <c:tx>
                <c:rich>
                  <a:bodyPr/>
                  <a:lstStyle/>
                  <a:p>
                    <a:r>
                      <a:t>9.9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CHICK XTREME 2 SENSITIVE 2 BLADE DISPOSABLE NORMAL 12CT</c:v>
                </c:pt>
                <c:pt idx="1">
                  <c:v>SCHICK XTREME 3 SENSITIVE GREEN 3 BLADE DISPOSABLE SENSITIVE 8CT</c:v>
                </c:pt>
                <c:pt idx="2">
                  <c:v>SCHICK XTREME 3 SENSITIVE GREEN BLACK 3 BLADE DISPOSABLE SENSITIVE 8CT</c:v>
                </c:pt>
                <c:pt idx="3">
                  <c:v>SCHICK XTREME 3 SENSITIVE GREEN BLACK 3 BLADE DISPOSABLE SENSITIVE 4CT</c:v>
                </c:pt>
                <c:pt idx="4">
                  <c:v>SCHICK XTREME 3 SENSITIVE GREEN BLACK 3 BLADE DISPOSABLE SENSITIVE 12CT</c:v>
                </c:pt>
                <c:pt idx="5">
                  <c:v>SCHICK XTREME 3 SENSITIVE BLACK 3 BLADE DISPOSABLE SENSITIVE 4CT</c:v>
                </c:pt>
                <c:pt idx="6">
                  <c:v>SCHICK XTREME 3 SENSITIVE BLACK GREEN 3 BLADE DISPOSABLE SENSITIVE 12CT</c:v>
                </c:pt>
                <c:pt idx="7">
                  <c:v>HYDRO 5 SENSITIVE 5 BLADE REFILL SENSITIVE 6CT</c:v>
                </c:pt>
                <c:pt idx="8">
                  <c:v>HYDRO 5 SENSITIVE 5 BLADE RAZOR SENSITIVE 3CT</c:v>
                </c:pt>
                <c:pt idx="9">
                  <c:v>HYDRO 5 SENSITIVE 5 BLADE REFILL SENSITIVE 12CT</c:v>
                </c:pt>
                <c:pt idx="10">
                  <c:v>CREMO 5 BLADE RAZOR NORMAL 2CT</c:v>
                </c:pt>
                <c:pt idx="11">
                  <c:v>CREMO 5 BLADE REFILL NORMAL 4CT</c:v>
                </c:pt>
                <c:pt idx="12">
                  <c:v>SCHICK HYDRO 3 SENSITIVE 3 BLADE REFILL SENSITIVE 5CT</c:v>
                </c:pt>
                <c:pt idx="13">
                  <c:v>HYDRO 5 SENSITIVE GRAY HOLIDAY GIFT PACK 5 BLADE RAZOR SENSITIVE 3CT</c:v>
                </c:pt>
                <c:pt idx="14">
                  <c:v>SCHICK HYDRO 3 SENSITIVE 3 BLADE RAZOR SENSITIVE 4CT</c:v>
                </c:pt>
              </c:strCache>
            </c:strRef>
          </c:cat>
          <c:val>
            <c:numRef>
              <c:f>Sheet1!$B$2:$B$16</c:f>
              <c:numCache>
                <c:formatCode>General</c:formatCode>
                <c:ptCount val="15"/>
                <c:pt idx="0">
                  <c:v>6.5</c:v>
                </c:pt>
                <c:pt idx="1">
                  <c:v>11.02</c:v>
                </c:pt>
                <c:pt idx="2">
                  <c:v>11.02</c:v>
                </c:pt>
                <c:pt idx="3">
                  <c:v>6.53</c:v>
                </c:pt>
                <c:pt idx="4">
                  <c:v>15.1</c:v>
                </c:pt>
                <c:pt idx="5">
                  <c:v>6.49</c:v>
                </c:pt>
                <c:pt idx="6">
                  <c:v>15.04</c:v>
                </c:pt>
                <c:pt idx="7">
                  <c:v>14.73</c:v>
                </c:pt>
                <c:pt idx="8">
                  <c:v>9.96</c:v>
                </c:pt>
                <c:pt idx="9">
                  <c:v>26.51</c:v>
                </c:pt>
                <c:pt idx="10">
                  <c:v>16.85</c:v>
                </c:pt>
                <c:pt idx="11">
                  <c:v>14.99</c:v>
                </c:pt>
                <c:pt idx="12">
                  <c:v>9.53</c:v>
                </c:pt>
                <c:pt idx="13">
                  <c:v>9.99</c:v>
                </c:pt>
                <c:pt idx="14">
                  <c:v>9.9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7.19</a:t>
                    </a:r>
                  </a:p>
                </c:rich>
              </c:tx>
              <c:dLblPos val="t"/>
              <c:showLegendKey val="0"/>
              <c:showVal val="1"/>
              <c:showCatName val="0"/>
              <c:showSerName val="0"/>
              <c:showPercent val="0"/>
              <c:showBubbleSize val="0"/>
            </c:dLbl>
            <c:dLbl>
              <c:idx val="1"/>
              <c:tx>
                <c:rich>
                  <a:bodyPr/>
                  <a:lstStyle/>
                  <a:p>
                    <a:r>
                      <a:t>7.21</a:t>
                    </a:r>
                  </a:p>
                </c:rich>
              </c:tx>
              <c:dLblPos val="t"/>
              <c:showLegendKey val="0"/>
              <c:showVal val="1"/>
              <c:showCatName val="0"/>
              <c:showSerName val="0"/>
              <c:showPercent val="0"/>
              <c:showBubbleSize val="0"/>
            </c:dLbl>
            <c:dLbl>
              <c:idx val="2"/>
              <c:tx>
                <c:rich>
                  <a:bodyPr/>
                  <a:lstStyle/>
                  <a:p>
                    <a:r>
                      <a:t>11.82</a:t>
                    </a:r>
                  </a:p>
                </c:rich>
              </c:tx>
              <c:dLblPos val="t"/>
              <c:showLegendKey val="0"/>
              <c:showVal val="1"/>
              <c:showCatName val="0"/>
              <c:showSerName val="0"/>
              <c:showPercent val="0"/>
              <c:showBubbleSize val="0"/>
            </c:dLbl>
            <c:dLbl>
              <c:idx val="3"/>
              <c:tx>
                <c:rich>
                  <a:bodyPr/>
                  <a:lstStyle/>
                  <a:p>
                    <a:r>
                      <a:t>20.21</a:t>
                    </a:r>
                  </a:p>
                </c:rich>
              </c:tx>
              <c:dLblPos val="t"/>
              <c:showLegendKey val="0"/>
              <c:showVal val="1"/>
              <c:showCatName val="0"/>
              <c:showSerName val="0"/>
              <c:showPercent val="0"/>
              <c:showBubbleSize val="0"/>
            </c:dLbl>
            <c:dLbl>
              <c:idx val="4"/>
              <c:tx>
                <c:rich>
                  <a:bodyPr/>
                  <a:lstStyle/>
                  <a:p>
                    <a:r>
                      <a:t>15.09</a:t>
                    </a:r>
                  </a:p>
                </c:rich>
              </c:tx>
              <c:dLblPos val="t"/>
              <c:showLegendKey val="0"/>
              <c:showVal val="1"/>
              <c:showCatName val="0"/>
              <c:showSerName val="0"/>
              <c:showPercent val="0"/>
              <c:showBubbleSize val="0"/>
            </c:dLbl>
            <c:dLbl>
              <c:idx val="5"/>
              <c:tx>
                <c:rich>
                  <a:bodyPr/>
                  <a:lstStyle/>
                  <a:p>
                    <a:r>
                      <a:t>11.22</a:t>
                    </a:r>
                  </a:p>
                </c:rich>
              </c:tx>
              <c:dLblPos val="t"/>
              <c:showLegendKey val="0"/>
              <c:showVal val="1"/>
              <c:showCatName val="0"/>
              <c:showSerName val="0"/>
              <c:showPercent val="0"/>
              <c:showBubbleSize val="0"/>
            </c:dLbl>
            <c:dLbl>
              <c:idx val="6"/>
              <c:tx>
                <c:rich>
                  <a:bodyPr/>
                  <a:lstStyle/>
                  <a:p>
                    <a:r>
                      <a:t>14.86</a:t>
                    </a:r>
                  </a:p>
                </c:rich>
              </c:tx>
              <c:dLblPos val="t"/>
              <c:showLegendKey val="0"/>
              <c:showVal val="1"/>
              <c:showCatName val="0"/>
              <c:showSerName val="0"/>
              <c:showPercent val="0"/>
              <c:showBubbleSize val="0"/>
            </c:dLbl>
            <c:dLbl>
              <c:idx val="7"/>
              <c:tx>
                <c:rich>
                  <a:bodyPr/>
                  <a:lstStyle/>
                  <a:p>
                    <a:r>
                      <a:t>15.58</a:t>
                    </a:r>
                  </a:p>
                </c:rich>
              </c:tx>
              <c:dLblPos val="t"/>
              <c:showLegendKey val="0"/>
              <c:showVal val="1"/>
              <c:showCatName val="0"/>
              <c:showSerName val="0"/>
              <c:showPercent val="0"/>
              <c:showBubbleSize val="0"/>
            </c:dLbl>
            <c:dLbl>
              <c:idx val="8"/>
              <c:tx>
                <c:rich>
                  <a:bodyPr/>
                  <a:lstStyle/>
                  <a:p>
                    <a:r>
                      <a:t>10.58</a:t>
                    </a:r>
                  </a:p>
                </c:rich>
              </c:tx>
              <c:dLblPos val="t"/>
              <c:showLegendKey val="0"/>
              <c:showVal val="1"/>
              <c:showCatName val="0"/>
              <c:showSerName val="0"/>
              <c:showPercent val="0"/>
              <c:showBubbleSize val="0"/>
            </c:dLbl>
            <c:dLbl>
              <c:idx val="9"/>
              <c:tx>
                <c:rich>
                  <a:bodyPr/>
                  <a:lstStyle/>
                  <a:p>
                    <a:r>
                      <a:t>27.56</a:t>
                    </a:r>
                  </a:p>
                </c:rich>
              </c:tx>
              <c:dLblPos val="t"/>
              <c:showLegendKey val="0"/>
              <c:showVal val="1"/>
              <c:showCatName val="0"/>
              <c:showSerName val="0"/>
              <c:showPercent val="0"/>
              <c:showBubbleSize val="0"/>
            </c:dLbl>
            <c:dLbl>
              <c:idx val="10"/>
              <c:tx>
                <c:rich>
                  <a:bodyPr/>
                  <a:lstStyle/>
                  <a:p>
                    <a:r>
                      <a:t>11.69</a:t>
                    </a:r>
                  </a:p>
                </c:rich>
              </c:tx>
              <c:dLblPos val="t"/>
              <c:showLegendKey val="0"/>
              <c:showVal val="1"/>
              <c:showCatName val="0"/>
              <c:showSerName val="0"/>
              <c:showPercent val="0"/>
              <c:showBubbleSize val="0"/>
            </c:dLbl>
            <c:dLbl>
              <c:idx val="11"/>
              <c:tx>
                <c:rich>
                  <a:bodyPr/>
                  <a:lstStyle/>
                  <a:p>
                    <a:r>
                      <a:t>17.52</a:t>
                    </a:r>
                  </a:p>
                </c:rich>
              </c:tx>
              <c:dLblPos val="t"/>
              <c:showLegendKey val="0"/>
              <c:showVal val="1"/>
              <c:showCatName val="0"/>
              <c:showSerName val="0"/>
              <c:showPercent val="0"/>
              <c:showBubbleSize val="0"/>
            </c:dLbl>
            <c:dLbl>
              <c:idx val="12"/>
              <c:tx>
                <c:rich>
                  <a:bodyPr/>
                  <a:lstStyle/>
                  <a:p>
                    <a:r>
                      <a:t>14.1</a:t>
                    </a:r>
                  </a:p>
                </c:rich>
              </c:tx>
              <c:dLblPos val="t"/>
              <c:showLegendKey val="0"/>
              <c:showVal val="1"/>
              <c:showCatName val="0"/>
              <c:showSerName val="0"/>
              <c:showPercent val="0"/>
              <c:showBubbleSize val="0"/>
            </c:dLbl>
            <c:dLbl>
              <c:idx val="13"/>
              <c:tx>
                <c:rich>
                  <a:bodyPr/>
                  <a:lstStyle/>
                  <a:p>
                    <a:r>
                      <a:t>12.29</a:t>
                    </a:r>
                  </a:p>
                </c:rich>
              </c:tx>
              <c:dLblPos val="t"/>
              <c:showLegendKey val="0"/>
              <c:showVal val="1"/>
              <c:showCatName val="0"/>
              <c:showSerName val="0"/>
              <c:showPercent val="0"/>
              <c:showBubbleSize val="0"/>
            </c:dLbl>
            <c:dLbl>
              <c:idx val="14"/>
              <c:tx>
                <c:rich>
                  <a:bodyPr/>
                  <a:lstStyle/>
                  <a:p>
                    <a:r>
                      <a:t>10.0</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CHICK XTREME 3 SENSITIVE BLACK 3 BLADE DISPOSABLE SENSITIVE 4CT</c:v>
                </c:pt>
                <c:pt idx="1">
                  <c:v>SCHICK XTREME 2 SENSITIVE 2 BLADE DISPOSABLE NORMAL 12CT</c:v>
                </c:pt>
                <c:pt idx="2">
                  <c:v>SCHICK XTREME 3 SENSITIVE GREEN 3 BLADE DISPOSABLE SENSITIVE 8CT</c:v>
                </c:pt>
                <c:pt idx="3">
                  <c:v>SCHICK XTREME 3 SENSITIVE BLACK GREEN 3 BLADE DISPOSABLE SENSITIVE 20CT</c:v>
                </c:pt>
                <c:pt idx="4">
                  <c:v>SCHICK XTREME 3 SENSITIVE BLACK GREEN 3 BLADE DISPOSABLE SENSITIVE 12CT</c:v>
                </c:pt>
                <c:pt idx="5">
                  <c:v>HYDRO 5 5 BLADE DISPOSABLE NORMAL 3CT</c:v>
                </c:pt>
                <c:pt idx="6">
                  <c:v>SCHICK XTREME 3 SENSITIVE GREEN 3 BLADE DISPOSABLE SENSITIVE 12CT</c:v>
                </c:pt>
                <c:pt idx="7">
                  <c:v>HYDRO 5 SENSITIVE 5 BLADE REFILL SENSITIVE 6CT</c:v>
                </c:pt>
                <c:pt idx="8">
                  <c:v>HYDRO 5 SENSITIVE 5 BLADE RAZOR SENSITIVE 3CT</c:v>
                </c:pt>
                <c:pt idx="9">
                  <c:v>HYDRO 5 SENSITIVE 5 BLADE REFILL SENSITIVE 12CT</c:v>
                </c:pt>
                <c:pt idx="10">
                  <c:v>HYDRO 5 DRY SKIN 5 BLADE RAZOR DRY 3CT</c:v>
                </c:pt>
                <c:pt idx="11">
                  <c:v>HYDRO 5 DRY SKIN 5 BLADE REFILL DRY 6CT</c:v>
                </c:pt>
                <c:pt idx="12">
                  <c:v>SCHICK QUATTRO FOR MEN 4 BLADE REFILL NORMAL 8CT</c:v>
                </c:pt>
                <c:pt idx="13">
                  <c:v>SCHICK QUATTRO FOR MEN 4 BLADE RAZOR NORMAL 4CT</c:v>
                </c:pt>
                <c:pt idx="14">
                  <c:v>HYDRO 5 SENSITIVE GRAY HOLIDAY GIFT PACK 5 BLADE RAZOR SENSITIVE 3CT</c:v>
                </c:pt>
              </c:strCache>
            </c:strRef>
          </c:cat>
          <c:val>
            <c:numRef>
              <c:f>Sheet1!$B$2:$B$16</c:f>
              <c:numCache>
                <c:formatCode>General</c:formatCode>
                <c:ptCount val="15"/>
                <c:pt idx="0">
                  <c:v>7.19</c:v>
                </c:pt>
                <c:pt idx="1">
                  <c:v>7.21</c:v>
                </c:pt>
                <c:pt idx="2">
                  <c:v>11.82</c:v>
                </c:pt>
                <c:pt idx="3">
                  <c:v>20.21</c:v>
                </c:pt>
                <c:pt idx="4">
                  <c:v>15.09</c:v>
                </c:pt>
                <c:pt idx="5">
                  <c:v>11.22</c:v>
                </c:pt>
                <c:pt idx="6">
                  <c:v>14.86</c:v>
                </c:pt>
                <c:pt idx="7">
                  <c:v>15.58</c:v>
                </c:pt>
                <c:pt idx="8">
                  <c:v>10.58</c:v>
                </c:pt>
                <c:pt idx="9">
                  <c:v>27.56</c:v>
                </c:pt>
                <c:pt idx="10">
                  <c:v>11.69</c:v>
                </c:pt>
                <c:pt idx="11">
                  <c:v>17.52</c:v>
                </c:pt>
                <c:pt idx="12">
                  <c:v>14.1</c:v>
                </c:pt>
                <c:pt idx="13">
                  <c:v>12.29</c:v>
                </c:pt>
                <c:pt idx="14">
                  <c:v>10.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22</a:t>
                    </a:r>
                  </a:p>
                </c:rich>
              </c:tx>
              <c:dLblPos val="t"/>
              <c:showLegendKey val="0"/>
              <c:showVal val="1"/>
              <c:showCatName val="0"/>
              <c:showSerName val="0"/>
              <c:showPercent val="0"/>
              <c:showBubbleSize val="0"/>
            </c:dLbl>
            <c:dLbl>
              <c:idx val="1"/>
              <c:tx>
                <c:rich>
                  <a:bodyPr/>
                  <a:lstStyle/>
                  <a:p>
                    <a:r>
                      <a:t>22.86</a:t>
                    </a:r>
                  </a:p>
                </c:rich>
              </c:tx>
              <c:dLblPos val="t"/>
              <c:showLegendKey val="0"/>
              <c:showVal val="1"/>
              <c:showCatName val="0"/>
              <c:showSerName val="0"/>
              <c:showPercent val="0"/>
              <c:showBubbleSize val="0"/>
            </c:dLbl>
            <c:dLbl>
              <c:idx val="2"/>
              <c:tx>
                <c:rich>
                  <a:bodyPr/>
                  <a:lstStyle/>
                  <a:p>
                    <a:r>
                      <a:t>25.21</a:t>
                    </a:r>
                  </a:p>
                </c:rich>
              </c:tx>
              <c:dLblPos val="t"/>
              <c:showLegendKey val="0"/>
              <c:showVal val="1"/>
              <c:showCatName val="0"/>
              <c:showSerName val="0"/>
              <c:showPercent val="0"/>
              <c:showBubbleSize val="0"/>
            </c:dLbl>
            <c:dLbl>
              <c:idx val="3"/>
              <c:tx>
                <c:rich>
                  <a:bodyPr/>
                  <a:lstStyle/>
                  <a:p>
                    <a:r>
                      <a:t>22.0</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CHICK XTREME 3 SENSITIVE BLACK GREEN 3 BLADE DISPOSABLE SENSITIVE 20CT</c:v>
                </c:pt>
                <c:pt idx="1">
                  <c:v>SCHICK XTREME 3 SENSITIVE BLACK 3 BLADE DISPOSABLE SENSITIVE 20CT</c:v>
                </c:pt>
                <c:pt idx="2">
                  <c:v>SCHICK XTREME 3 SENSITIVE 3 BLADE DISPOSABLE SENSITIVE 25CT</c:v>
                </c:pt>
                <c:pt idx="3">
                  <c:v>SCHICK XTREME 3 3 BLADE DISPOSABLE SENSITIVE 20CT</c:v>
                </c:pt>
              </c:strCache>
            </c:strRef>
          </c:cat>
          <c:val>
            <c:numRef>
              <c:f>Sheet1!$B$2:$B$5</c:f>
              <c:numCache>
                <c:formatCode>General</c:formatCode>
                <c:ptCount val="4"/>
                <c:pt idx="0">
                  <c:v>20.22</c:v>
                </c:pt>
                <c:pt idx="1">
                  <c:v>22.86</c:v>
                </c:pt>
                <c:pt idx="2">
                  <c:v>25.21</c:v>
                </c:pt>
                <c:pt idx="3">
                  <c:v>22.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1</a:t>
                    </a:r>
                  </a:p>
                </c:rich>
              </c:tx>
              <c:dLblPos val="t"/>
              <c:showLegendKey val="0"/>
              <c:showVal val="1"/>
              <c:showCatName val="0"/>
              <c:showSerName val="0"/>
              <c:showPercent val="0"/>
              <c:showBubbleSize val="0"/>
            </c:dLbl>
            <c:dLbl>
              <c:idx val="1"/>
              <c:tx>
                <c:rich>
                  <a:bodyPr/>
                  <a:lstStyle/>
                  <a:p>
                    <a:r>
                      <a:t>24.7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CHICK XTREME 3 SENSITIVE BLACK GREEN 3 BLADE DISPOSABLE SENSITIVE 20CT</c:v>
                </c:pt>
                <c:pt idx="1">
                  <c:v>SCHICK XTREME 3 SENSITIVE BLACK 3 BLADE DISPOSABLE SENSITIVE 20CT</c:v>
                </c:pt>
              </c:strCache>
            </c:strRef>
          </c:cat>
          <c:val>
            <c:numRef>
              <c:f>Sheet1!$B$2:$B$3</c:f>
              <c:numCache>
                <c:formatCode>General</c:formatCode>
                <c:ptCount val="2"/>
                <c:pt idx="0">
                  <c:v>20.1</c:v>
                </c:pt>
                <c:pt idx="1">
                  <c:v>24.7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5</a:t>
                    </a:r>
                  </a:p>
                </c:rich>
              </c:tx>
              <c:dLblPos val="t"/>
              <c:showLegendKey val="0"/>
              <c:showVal val="1"/>
              <c:showCatName val="0"/>
              <c:showSerName val="0"/>
              <c:showPercent val="0"/>
              <c:showBubbleSize val="0"/>
            </c:dLbl>
            <c:dLbl>
              <c:idx val="1"/>
              <c:tx>
                <c:rich>
                  <a:bodyPr/>
                  <a:lstStyle/>
                  <a:p>
                    <a:r>
                      <a:t>11.01</a:t>
                    </a:r>
                  </a:p>
                </c:rich>
              </c:tx>
              <c:dLblPos val="t"/>
              <c:showLegendKey val="0"/>
              <c:showVal val="1"/>
              <c:showCatName val="0"/>
              <c:showSerName val="0"/>
              <c:showPercent val="0"/>
              <c:showBubbleSize val="0"/>
            </c:dLbl>
            <c:dLbl>
              <c:idx val="2"/>
              <c:tx>
                <c:rich>
                  <a:bodyPr/>
                  <a:lstStyle/>
                  <a:p>
                    <a:r>
                      <a:t>6.5</a:t>
                    </a:r>
                  </a:p>
                </c:rich>
              </c:tx>
              <c:dLblPos val="t"/>
              <c:showLegendKey val="0"/>
              <c:showVal val="1"/>
              <c:showCatName val="0"/>
              <c:showSerName val="0"/>
              <c:showPercent val="0"/>
              <c:showBubbleSize val="0"/>
            </c:dLbl>
            <c:dLbl>
              <c:idx val="3"/>
              <c:tx>
                <c:rich>
                  <a:bodyPr/>
                  <a:lstStyle/>
                  <a:p>
                    <a:r>
                      <a:t>15.03</a:t>
                    </a:r>
                  </a:p>
                </c:rich>
              </c:tx>
              <c:dLblPos val="t"/>
              <c:showLegendKey val="0"/>
              <c:showVal val="1"/>
              <c:showCatName val="0"/>
              <c:showSerName val="0"/>
              <c:showPercent val="0"/>
              <c:showBubbleSize val="0"/>
            </c:dLbl>
            <c:dLbl>
              <c:idx val="4"/>
              <c:tx>
                <c:rich>
                  <a:bodyPr/>
                  <a:lstStyle/>
                  <a:p>
                    <a:r>
                      <a:t>10.0</a:t>
                    </a:r>
                  </a:p>
                </c:rich>
              </c:tx>
              <c:dLblPos val="t"/>
              <c:showLegendKey val="0"/>
              <c:showVal val="1"/>
              <c:showCatName val="0"/>
              <c:showSerName val="0"/>
              <c:showPercent val="0"/>
              <c:showBubbleSize val="0"/>
            </c:dLbl>
            <c:dLbl>
              <c:idx val="5"/>
              <c:tx>
                <c:rich>
                  <a:bodyPr/>
                  <a:lstStyle/>
                  <a:p>
                    <a:r>
                      <a:t>11.02</a:t>
                    </a:r>
                  </a:p>
                </c:rich>
              </c:tx>
              <c:dLblPos val="t"/>
              <c:showLegendKey val="0"/>
              <c:showVal val="1"/>
              <c:showCatName val="0"/>
              <c:showSerName val="0"/>
              <c:showPercent val="0"/>
              <c:showBubbleSize val="0"/>
            </c:dLbl>
            <c:dLbl>
              <c:idx val="6"/>
              <c:tx>
                <c:rich>
                  <a:bodyPr/>
                  <a:lstStyle/>
                  <a:p>
                    <a:r>
                      <a:t>6.53</a:t>
                    </a:r>
                  </a:p>
                </c:rich>
              </c:tx>
              <c:dLblPos val="t"/>
              <c:showLegendKey val="0"/>
              <c:showVal val="1"/>
              <c:showCatName val="0"/>
              <c:showSerName val="0"/>
              <c:showPercent val="0"/>
              <c:showBubbleSize val="0"/>
            </c:dLbl>
            <c:dLbl>
              <c:idx val="7"/>
              <c:tx>
                <c:rich>
                  <a:bodyPr/>
                  <a:lstStyle/>
                  <a:p>
                    <a:r>
                      <a:t>15.1</a:t>
                    </a:r>
                  </a:p>
                </c:rich>
              </c:tx>
              <c:dLblPos val="t"/>
              <c:showLegendKey val="0"/>
              <c:showVal val="1"/>
              <c:showCatName val="0"/>
              <c:showSerName val="0"/>
              <c:showPercent val="0"/>
              <c:showBubbleSize val="0"/>
            </c:dLbl>
            <c:dLbl>
              <c:idx val="8"/>
              <c:tx>
                <c:rich>
                  <a:bodyPr/>
                  <a:lstStyle/>
                  <a:p>
                    <a:r>
                      <a:t>14.91</a:t>
                    </a:r>
                  </a:p>
                </c:rich>
              </c:tx>
              <c:dLblPos val="t"/>
              <c:showLegendKey val="0"/>
              <c:showVal val="1"/>
              <c:showCatName val="0"/>
              <c:showSerName val="0"/>
              <c:showPercent val="0"/>
              <c:showBubbleSize val="0"/>
            </c:dLbl>
            <c:dLbl>
              <c:idx val="9"/>
              <c:tx>
                <c:rich>
                  <a:bodyPr/>
                  <a:lstStyle/>
                  <a:p>
                    <a:r>
                      <a:t>9.96</a:t>
                    </a:r>
                  </a:p>
                </c:rich>
              </c:tx>
              <c:dLblPos val="t"/>
              <c:showLegendKey val="0"/>
              <c:showVal val="1"/>
              <c:showCatName val="0"/>
              <c:showSerName val="0"/>
              <c:showPercent val="0"/>
              <c:showBubbleSize val="0"/>
            </c:dLbl>
            <c:dLbl>
              <c:idx val="10"/>
              <c:tx>
                <c:rich>
                  <a:bodyPr/>
                  <a:lstStyle/>
                  <a:p>
                    <a:r>
                      <a:t>26.97</a:t>
                    </a:r>
                  </a:p>
                </c:rich>
              </c:tx>
              <c:dLblPos val="t"/>
              <c:showLegendKey val="0"/>
              <c:showVal val="1"/>
              <c:showCatName val="0"/>
              <c:showSerName val="0"/>
              <c:showPercent val="0"/>
              <c:showBubbleSize val="0"/>
            </c:dLbl>
            <c:dLbl>
              <c:idx val="11"/>
              <c:tx>
                <c:rich>
                  <a:bodyPr/>
                  <a:lstStyle/>
                  <a:p>
                    <a:r>
                      <a:t>10.0</a:t>
                    </a:r>
                  </a:p>
                </c:rich>
              </c:tx>
              <c:dLblPos val="t"/>
              <c:showLegendKey val="0"/>
              <c:showVal val="1"/>
              <c:showCatName val="0"/>
              <c:showSerName val="0"/>
              <c:showPercent val="0"/>
              <c:showBubbleSize val="0"/>
            </c:dLbl>
            <c:dLbl>
              <c:idx val="12"/>
              <c:tx>
                <c:rich>
                  <a:bodyPr/>
                  <a:lstStyle/>
                  <a:p>
                    <a:r>
                      <a:t>9.97</a:t>
                    </a:r>
                  </a:p>
                </c:rich>
              </c:tx>
              <c:dLblPos val="t"/>
              <c:showLegendKey val="0"/>
              <c:showVal val="1"/>
              <c:showCatName val="0"/>
              <c:showSerName val="0"/>
              <c:showPercent val="0"/>
              <c:showBubbleSize val="0"/>
            </c:dLbl>
            <c:dLbl>
              <c:idx val="13"/>
              <c:tx>
                <c:rich>
                  <a:bodyPr/>
                  <a:lstStyle/>
                  <a:p>
                    <a:r>
                      <a:t>9.92</a:t>
                    </a:r>
                  </a:p>
                </c:rich>
              </c:tx>
              <c:dLblPos val="t"/>
              <c:showLegendKey val="0"/>
              <c:showVal val="1"/>
              <c:showCatName val="0"/>
              <c:showSerName val="0"/>
              <c:showPercent val="0"/>
              <c:showBubbleSize val="0"/>
            </c:dLbl>
            <c:dLbl>
              <c:idx val="14"/>
              <c:tx>
                <c:rich>
                  <a:bodyPr/>
                  <a:lstStyle/>
                  <a:p>
                    <a:r>
                      <a:t>16.8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CHICK XTREME 2 SENSITIVE 2 BLADE DISPOSABLE NORMAL 12CT</c:v>
                </c:pt>
                <c:pt idx="1">
                  <c:v>SCHICK XTREME 3 SENSITIVE GREEN 3 BLADE DISPOSABLE SENSITIVE 8CT</c:v>
                </c:pt>
                <c:pt idx="2">
                  <c:v>SCHICK XTREME 3 SENSITIVE BLACK 3 BLADE DISPOSABLE SENSITIVE 4CT</c:v>
                </c:pt>
                <c:pt idx="3">
                  <c:v>SCHICK XTREME 3 SENSITIVE BLACK GREEN 3 BLADE DISPOSABLE SENSITIVE 12CT</c:v>
                </c:pt>
                <c:pt idx="4">
                  <c:v>SCHICK XTREME 3 SENSITIVE GREEN HOLIDAY GIFT PACK 3 BLADE DISPOSABLE SENSITIVE 8CT</c:v>
                </c:pt>
                <c:pt idx="5">
                  <c:v>SCHICK XTREME 3 SENSITIVE GREEN BLACK 3 BLADE DISPOSABLE SENSITIVE 8CT</c:v>
                </c:pt>
                <c:pt idx="6">
                  <c:v>SCHICK XTREME 3 SENSITIVE GREEN BLACK 3 BLADE DISPOSABLE SENSITIVE 4CT</c:v>
                </c:pt>
                <c:pt idx="7">
                  <c:v>SCHICK XTREME 3 SENSITIVE GREEN BLACK 3 BLADE DISPOSABLE SENSITIVE 12CT</c:v>
                </c:pt>
                <c:pt idx="8">
                  <c:v>HYDRO 5 SENSITIVE 5 BLADE REFILL SENSITIVE 6CT</c:v>
                </c:pt>
                <c:pt idx="9">
                  <c:v>HYDRO 5 SENSITIVE 5 BLADE RAZOR SENSITIVE 3CT</c:v>
                </c:pt>
                <c:pt idx="10">
                  <c:v>HYDRO 5 SENSITIVE 5 BLADE REFILL SENSITIVE 12CT</c:v>
                </c:pt>
                <c:pt idx="11">
                  <c:v>HYDRO 5 SENSITIVE GRAY HOLIDAY GIFT PACK 5 BLADE RAZOR SENSITIVE 3CT</c:v>
                </c:pt>
                <c:pt idx="12">
                  <c:v>SCHICK HYDRO 3 SENSITIVE 3 BLADE RAZOR SENSITIVE 4CT</c:v>
                </c:pt>
                <c:pt idx="13">
                  <c:v>SCHICK HYDRO 3 SENSITIVE 3 BLADE REFILL SENSITIVE 5CT</c:v>
                </c:pt>
                <c:pt idx="14">
                  <c:v>CREMO 5 BLADE RAZOR NORMAL 2CT</c:v>
                </c:pt>
              </c:strCache>
            </c:strRef>
          </c:cat>
          <c:val>
            <c:numRef>
              <c:f>Sheet1!$B$2:$B$16</c:f>
              <c:numCache>
                <c:formatCode>General</c:formatCode>
                <c:ptCount val="15"/>
                <c:pt idx="0">
                  <c:v>6.5</c:v>
                </c:pt>
                <c:pt idx="1">
                  <c:v>11.01</c:v>
                </c:pt>
                <c:pt idx="2">
                  <c:v>6.5</c:v>
                </c:pt>
                <c:pt idx="3">
                  <c:v>15.03</c:v>
                </c:pt>
                <c:pt idx="4">
                  <c:v>10.0</c:v>
                </c:pt>
                <c:pt idx="5">
                  <c:v>11.02</c:v>
                </c:pt>
                <c:pt idx="6">
                  <c:v>6.53</c:v>
                </c:pt>
                <c:pt idx="7">
                  <c:v>15.1</c:v>
                </c:pt>
                <c:pt idx="8">
                  <c:v>14.91</c:v>
                </c:pt>
                <c:pt idx="9">
                  <c:v>9.96</c:v>
                </c:pt>
                <c:pt idx="10">
                  <c:v>26.97</c:v>
                </c:pt>
                <c:pt idx="11">
                  <c:v>10.0</c:v>
                </c:pt>
                <c:pt idx="12">
                  <c:v>9.97</c:v>
                </c:pt>
                <c:pt idx="13">
                  <c:v>9.92</c:v>
                </c:pt>
                <c:pt idx="14">
                  <c:v>16.8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5.22</a:t>
                    </a:r>
                  </a:p>
                </c:rich>
              </c:tx>
              <c:dLblPos val="t"/>
              <c:showLegendKey val="0"/>
              <c:showVal val="1"/>
              <c:showCatName val="0"/>
              <c:showSerName val="0"/>
              <c:showPercent val="0"/>
              <c:showBubbleSize val="0"/>
            </c:dLbl>
            <c:dLbl>
              <c:idx val="1"/>
              <c:tx>
                <c:rich>
                  <a:bodyPr/>
                  <a:lstStyle/>
                  <a:p>
                    <a:r>
                      <a:t>26.91</a:t>
                    </a:r>
                  </a:p>
                </c:rich>
              </c:tx>
              <c:dLblPos val="t"/>
              <c:showLegendKey val="0"/>
              <c:showVal val="1"/>
              <c:showCatName val="0"/>
              <c:showSerName val="0"/>
              <c:showPercent val="0"/>
              <c:showBubbleSize val="0"/>
            </c:dLbl>
            <c:dLbl>
              <c:idx val="2"/>
              <c:tx>
                <c:rich>
                  <a:bodyPr/>
                  <a:lstStyle/>
                  <a:p>
                    <a:r>
                      <a:t>16.88</a:t>
                    </a:r>
                  </a:p>
                </c:rich>
              </c:tx>
              <c:dLblPos val="t"/>
              <c:showLegendKey val="0"/>
              <c:showVal val="1"/>
              <c:showCatName val="0"/>
              <c:showSerName val="0"/>
              <c:showPercent val="0"/>
              <c:showBubbleSize val="0"/>
            </c:dLbl>
            <c:dLbl>
              <c:idx val="3"/>
              <c:tx>
                <c:rich>
                  <a:bodyPr/>
                  <a:lstStyle/>
                  <a:p>
                    <a:r>
                      <a:t>13.58</a:t>
                    </a:r>
                  </a:p>
                </c:rich>
              </c:tx>
              <c:dLblPos val="t"/>
              <c:showLegendKey val="0"/>
              <c:showVal val="1"/>
              <c:showCatName val="0"/>
              <c:showSerName val="0"/>
              <c:showPercent val="0"/>
              <c:showBubbleSize val="0"/>
            </c:dLbl>
            <c:dLbl>
              <c:idx val="4"/>
              <c:tx>
                <c:rich>
                  <a:bodyPr/>
                  <a:lstStyle/>
                  <a:p>
                    <a:r>
                      <a:t>23.94</a:t>
                    </a:r>
                  </a:p>
                </c:rich>
              </c:tx>
              <c:dLblPos val="t"/>
              <c:showLegendKey val="0"/>
              <c:showVal val="1"/>
              <c:showCatName val="0"/>
              <c:showSerName val="0"/>
              <c:showPercent val="0"/>
              <c:showBubbleSize val="0"/>
            </c:dLbl>
            <c:dLbl>
              <c:idx val="5"/>
              <c:tx>
                <c:rich>
                  <a:bodyPr/>
                  <a:lstStyle/>
                  <a:p>
                    <a:r>
                      <a:t>13.9</a:t>
                    </a:r>
                  </a:p>
                </c:rich>
              </c:tx>
              <c:dLblPos val="t"/>
              <c:showLegendKey val="0"/>
              <c:showVal val="1"/>
              <c:showCatName val="0"/>
              <c:showSerName val="0"/>
              <c:showPercent val="0"/>
              <c:showBubbleSize val="0"/>
            </c:dLbl>
            <c:dLbl>
              <c:idx val="6"/>
              <c:tx>
                <c:rich>
                  <a:bodyPr/>
                  <a:lstStyle/>
                  <a:p>
                    <a:r>
                      <a:t>12.68</a:t>
                    </a:r>
                  </a:p>
                </c:rich>
              </c:tx>
              <c:dLblPos val="t"/>
              <c:showLegendKey val="0"/>
              <c:showVal val="1"/>
              <c:showCatName val="0"/>
              <c:showSerName val="0"/>
              <c:showPercent val="0"/>
              <c:showBubbleSize val="0"/>
            </c:dLbl>
            <c:dLbl>
              <c:idx val="7"/>
              <c:tx>
                <c:rich>
                  <a:bodyPr/>
                  <a:lstStyle/>
                  <a:p>
                    <a:r>
                      <a:t>21.73</a:t>
                    </a:r>
                  </a:p>
                </c:rich>
              </c:tx>
              <c:dLblPos val="t"/>
              <c:showLegendKey val="0"/>
              <c:showVal val="1"/>
              <c:showCatName val="0"/>
              <c:showSerName val="0"/>
              <c:showPercent val="0"/>
              <c:showBubbleSize val="0"/>
            </c:dLbl>
            <c:dLbl>
              <c:idx val="8"/>
              <c:tx>
                <c:rich>
                  <a:bodyPr/>
                  <a:lstStyle/>
                  <a:p>
                    <a:r>
                      <a:t>10.59</a:t>
                    </a:r>
                  </a:p>
                </c:rich>
              </c:tx>
              <c:dLblPos val="t"/>
              <c:showLegendKey val="0"/>
              <c:showVal val="1"/>
              <c:showCatName val="0"/>
              <c:showSerName val="0"/>
              <c:showPercent val="0"/>
              <c:showBubbleSize val="0"/>
            </c:dLbl>
            <c:dLbl>
              <c:idx val="9"/>
              <c:tx>
                <c:rich>
                  <a:bodyPr/>
                  <a:lstStyle/>
                  <a:p>
                    <a:r>
                      <a:t>11.67</a:t>
                    </a:r>
                  </a:p>
                </c:rich>
              </c:tx>
              <c:dLblPos val="t"/>
              <c:showLegendKey val="0"/>
              <c:showVal val="1"/>
              <c:showCatName val="0"/>
              <c:showSerName val="0"/>
              <c:showPercent val="0"/>
              <c:showBubbleSize val="0"/>
            </c:dLbl>
            <c:dLbl>
              <c:idx val="10"/>
              <c:tx>
                <c:rich>
                  <a:bodyPr/>
                  <a:lstStyle/>
                  <a:p>
                    <a:r>
                      <a:t>38.77</a:t>
                    </a:r>
                  </a:p>
                </c:rich>
              </c:tx>
              <c:dLblPos val="t"/>
              <c:showLegendKey val="0"/>
              <c:showVal val="1"/>
              <c:showCatName val="0"/>
              <c:showSerName val="0"/>
              <c:showPercent val="0"/>
              <c:showBubbleSize val="0"/>
            </c:dLbl>
            <c:dLbl>
              <c:idx val="11"/>
              <c:tx>
                <c:rich>
                  <a:bodyPr/>
                  <a:lstStyle/>
                  <a:p>
                    <a:r>
                      <a:t>12.0</a:t>
                    </a:r>
                  </a:p>
                </c:rich>
              </c:tx>
              <c:dLblPos val="t"/>
              <c:showLegendKey val="0"/>
              <c:showVal val="1"/>
              <c:showCatName val="0"/>
              <c:showSerName val="0"/>
              <c:showPercent val="0"/>
              <c:showBubbleSize val="0"/>
            </c:dLbl>
            <c:dLbl>
              <c:idx val="12"/>
              <c:tx>
                <c:rich>
                  <a:bodyPr/>
                  <a:lstStyle/>
                  <a:p>
                    <a:r>
                      <a:t>12.71</a:t>
                    </a:r>
                  </a:p>
                </c:rich>
              </c:tx>
              <c:dLblPos val="t"/>
              <c:showLegendKey val="0"/>
              <c:showVal val="1"/>
              <c:showCatName val="0"/>
              <c:showSerName val="0"/>
              <c:showPercent val="0"/>
              <c:showBubbleSize val="0"/>
            </c:dLbl>
            <c:dLbl>
              <c:idx val="13"/>
              <c:tx>
                <c:rich>
                  <a:bodyPr/>
                  <a:lstStyle/>
                  <a:p>
                    <a:r>
                      <a:t>15.52</a:t>
                    </a:r>
                  </a:p>
                </c:rich>
              </c:tx>
              <c:dLblPos val="t"/>
              <c:showLegendKey val="0"/>
              <c:showVal val="1"/>
              <c:showCatName val="0"/>
              <c:showSerName val="0"/>
              <c:showPercent val="0"/>
              <c:showBubbleSize val="0"/>
            </c:dLbl>
            <c:dLbl>
              <c:idx val="14"/>
              <c:tx>
                <c:rich>
                  <a:bodyPr/>
                  <a:lstStyle/>
                  <a:p>
                    <a:r>
                      <a:t>29.2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HYDRO 5 SENSITIVE 5 BLADE REFILL SENSITIVE 6CT</c:v>
                </c:pt>
                <c:pt idx="1">
                  <c:v>HYDRO 5 SENSITIVE 5 BLADE REFILL SENSITIVE 12CT</c:v>
                </c:pt>
                <c:pt idx="2">
                  <c:v>HYDRO 5 DRY SKIN 5 BLADE REFILL DRY 6CT</c:v>
                </c:pt>
                <c:pt idx="3">
                  <c:v>SCHICK QUATTRO FOR MEN 4 BLADE REFILL NORMAL 8CT</c:v>
                </c:pt>
                <c:pt idx="4">
                  <c:v>SCHICK HYDRO STUBBLE ERASER 5 BLADE REFILL NORMAL 12CT</c:v>
                </c:pt>
                <c:pt idx="5">
                  <c:v>CREMO 5 BLADE REFILL NORMAL 4CT</c:v>
                </c:pt>
                <c:pt idx="6">
                  <c:v>SCHICK HYDRO 3 SENSITIVE 3 BLADE REFILL SENSITIVE 5CT</c:v>
                </c:pt>
                <c:pt idx="7">
                  <c:v>SCHICK HYDRO 3 SENSITIVE 3 BLADE REFILL SENSITIVE 12CT</c:v>
                </c:pt>
                <c:pt idx="8">
                  <c:v>HYDRO 5 SENSITIVE 5 BLADE RAZOR SENSITIVE 3CT</c:v>
                </c:pt>
                <c:pt idx="9">
                  <c:v>HYDRO 5 DRY SKIN 5 BLADE RAZOR DRY 3CT</c:v>
                </c:pt>
                <c:pt idx="10">
                  <c:v>HYDRO 5 SENSITIVE 5 BLADE RAZOR SENSITIVE 17CT</c:v>
                </c:pt>
                <c:pt idx="11">
                  <c:v>SCHICK QUATTRO FOR MEN 4 BLADE RAZOR NORMAL 4CT</c:v>
                </c:pt>
                <c:pt idx="12">
                  <c:v>SCHICK HYDRO 3 SENSITIVE 3 BLADE RAZOR SENSITIVE 4CT</c:v>
                </c:pt>
                <c:pt idx="13">
                  <c:v>CREMO 5 BLADE RAZOR NORMAL 2CT</c:v>
                </c:pt>
                <c:pt idx="14">
                  <c:v>SCHICK QUATTRO FOR MEN 4 BLADE RAZOR NORMAL 16CT</c:v>
                </c:pt>
              </c:strCache>
            </c:strRef>
          </c:cat>
          <c:val>
            <c:numRef>
              <c:f>Sheet1!$B$2:$B$16</c:f>
              <c:numCache>
                <c:formatCode>General</c:formatCode>
                <c:ptCount val="15"/>
                <c:pt idx="0">
                  <c:v>15.22</c:v>
                </c:pt>
                <c:pt idx="1">
                  <c:v>26.91</c:v>
                </c:pt>
                <c:pt idx="2">
                  <c:v>16.88</c:v>
                </c:pt>
                <c:pt idx="3">
                  <c:v>13.58</c:v>
                </c:pt>
                <c:pt idx="4">
                  <c:v>23.94</c:v>
                </c:pt>
                <c:pt idx="5">
                  <c:v>13.9</c:v>
                </c:pt>
                <c:pt idx="6">
                  <c:v>12.68</c:v>
                </c:pt>
                <c:pt idx="7">
                  <c:v>21.73</c:v>
                </c:pt>
                <c:pt idx="8">
                  <c:v>10.59</c:v>
                </c:pt>
                <c:pt idx="9">
                  <c:v>11.67</c:v>
                </c:pt>
                <c:pt idx="10">
                  <c:v>38.77</c:v>
                </c:pt>
                <c:pt idx="11">
                  <c:v>12.0</c:v>
                </c:pt>
                <c:pt idx="12">
                  <c:v>12.71</c:v>
                </c:pt>
                <c:pt idx="13">
                  <c:v>15.52</c:v>
                </c:pt>
                <c:pt idx="14">
                  <c:v>29.2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73</a:t>
                    </a:r>
                  </a:p>
                </c:rich>
              </c:tx>
              <c:dLblPos val="t"/>
              <c:showLegendKey val="0"/>
              <c:showVal val="1"/>
              <c:showCatName val="0"/>
              <c:showSerName val="0"/>
              <c:showPercent val="0"/>
              <c:showBubbleSize val="0"/>
            </c:dLbl>
            <c:dLbl>
              <c:idx val="1"/>
              <c:tx>
                <c:rich>
                  <a:bodyPr/>
                  <a:lstStyle/>
                  <a:p>
                    <a:r>
                      <a:t>26.51</a:t>
                    </a:r>
                  </a:p>
                </c:rich>
              </c:tx>
              <c:dLblPos val="t"/>
              <c:showLegendKey val="0"/>
              <c:showVal val="1"/>
              <c:showCatName val="0"/>
              <c:showSerName val="0"/>
              <c:showPercent val="0"/>
              <c:showBubbleSize val="0"/>
            </c:dLbl>
            <c:dLbl>
              <c:idx val="2"/>
              <c:tx>
                <c:rich>
                  <a:bodyPr/>
                  <a:lstStyle/>
                  <a:p>
                    <a:r>
                      <a:t>14.99</a:t>
                    </a:r>
                  </a:p>
                </c:rich>
              </c:tx>
              <c:dLblPos val="t"/>
              <c:showLegendKey val="0"/>
              <c:showVal val="1"/>
              <c:showCatName val="0"/>
              <c:showSerName val="0"/>
              <c:showPercent val="0"/>
              <c:showBubbleSize val="0"/>
            </c:dLbl>
            <c:dLbl>
              <c:idx val="3"/>
              <c:tx>
                <c:rich>
                  <a:bodyPr/>
                  <a:lstStyle/>
                  <a:p>
                    <a:r>
                      <a:t>9.53</a:t>
                    </a:r>
                  </a:p>
                </c:rich>
              </c:tx>
              <c:dLblPos val="t"/>
              <c:showLegendKey val="0"/>
              <c:showVal val="1"/>
              <c:showCatName val="0"/>
              <c:showSerName val="0"/>
              <c:showPercent val="0"/>
              <c:showBubbleSize val="0"/>
            </c:dLbl>
            <c:dLbl>
              <c:idx val="4"/>
              <c:tx>
                <c:rich>
                  <a:bodyPr/>
                  <a:lstStyle/>
                  <a:p>
                    <a:r>
                      <a:t>9.96</a:t>
                    </a:r>
                  </a:p>
                </c:rich>
              </c:tx>
              <c:dLblPos val="t"/>
              <c:showLegendKey val="0"/>
              <c:showVal val="1"/>
              <c:showCatName val="0"/>
              <c:showSerName val="0"/>
              <c:showPercent val="0"/>
              <c:showBubbleSize val="0"/>
            </c:dLbl>
            <c:dLbl>
              <c:idx val="5"/>
              <c:tx>
                <c:rich>
                  <a:bodyPr/>
                  <a:lstStyle/>
                  <a:p>
                    <a:r>
                      <a:t>16.85</a:t>
                    </a:r>
                  </a:p>
                </c:rich>
              </c:tx>
              <c:dLblPos val="t"/>
              <c:showLegendKey val="0"/>
              <c:showVal val="1"/>
              <c:showCatName val="0"/>
              <c:showSerName val="0"/>
              <c:showPercent val="0"/>
              <c:showBubbleSize val="0"/>
            </c:dLbl>
            <c:dLbl>
              <c:idx val="6"/>
              <c:tx>
                <c:rich>
                  <a:bodyPr/>
                  <a:lstStyle/>
                  <a:p>
                    <a:r>
                      <a:t>9.99</a:t>
                    </a:r>
                  </a:p>
                </c:rich>
              </c:tx>
              <c:dLblPos val="t"/>
              <c:showLegendKey val="0"/>
              <c:showVal val="1"/>
              <c:showCatName val="0"/>
              <c:showSerName val="0"/>
              <c:showPercent val="0"/>
              <c:showBubbleSize val="0"/>
            </c:dLbl>
            <c:dLbl>
              <c:idx val="7"/>
              <c:tx>
                <c:rich>
                  <a:bodyPr/>
                  <a:lstStyle/>
                  <a:p>
                    <a:r>
                      <a:t>9.9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HYDRO 5 SENSITIVE 5 BLADE REFILL SENSITIVE 6CT</c:v>
                </c:pt>
                <c:pt idx="1">
                  <c:v>HYDRO 5 SENSITIVE 5 BLADE REFILL SENSITIVE 12CT</c:v>
                </c:pt>
                <c:pt idx="2">
                  <c:v>CREMO 5 BLADE REFILL NORMAL 4CT</c:v>
                </c:pt>
                <c:pt idx="3">
                  <c:v>SCHICK HYDRO 3 SENSITIVE 3 BLADE REFILL SENSITIVE 5CT</c:v>
                </c:pt>
                <c:pt idx="4">
                  <c:v>HYDRO 5 SENSITIVE 5 BLADE RAZOR SENSITIVE 3CT</c:v>
                </c:pt>
                <c:pt idx="5">
                  <c:v>CREMO 5 BLADE RAZOR NORMAL 2CT</c:v>
                </c:pt>
                <c:pt idx="6">
                  <c:v>HYDRO 5 SENSITIVE GRAY HOLIDAY GIFT PACK 5 BLADE RAZOR SENSITIVE 3CT</c:v>
                </c:pt>
                <c:pt idx="7">
                  <c:v>SCHICK HYDRO 3 SENSITIVE 3 BLADE RAZOR SENSITIVE 4CT</c:v>
                </c:pt>
              </c:strCache>
            </c:strRef>
          </c:cat>
          <c:val>
            <c:numRef>
              <c:f>Sheet1!$B$2:$B$9</c:f>
              <c:numCache>
                <c:formatCode>General</c:formatCode>
                <c:ptCount val="8"/>
                <c:pt idx="0">
                  <c:v>14.73</c:v>
                </c:pt>
                <c:pt idx="1">
                  <c:v>26.51</c:v>
                </c:pt>
                <c:pt idx="2">
                  <c:v>14.99</c:v>
                </c:pt>
                <c:pt idx="3">
                  <c:v>9.53</c:v>
                </c:pt>
                <c:pt idx="4">
                  <c:v>9.96</c:v>
                </c:pt>
                <c:pt idx="5">
                  <c:v>16.85</c:v>
                </c:pt>
                <c:pt idx="6">
                  <c:v>9.99</c:v>
                </c:pt>
                <c:pt idx="7">
                  <c:v>9.9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09</a:t>
                    </a:r>
                  </a:p>
                </c:rich>
              </c:tx>
              <c:dLblPos val="t"/>
              <c:showLegendKey val="0"/>
              <c:showVal val="1"/>
              <c:showCatName val="0"/>
              <c:showSerName val="0"/>
              <c:showPercent val="0"/>
              <c:showBubbleSize val="0"/>
            </c:dLbl>
            <c:dLbl>
              <c:idx val="1"/>
              <c:tx>
                <c:rich>
                  <a:bodyPr/>
                  <a:lstStyle/>
                  <a:p>
                    <a:r>
                      <a:t>7.29</a:t>
                    </a:r>
                  </a:p>
                </c:rich>
              </c:tx>
              <c:dLblPos val="t"/>
              <c:showLegendKey val="0"/>
              <c:showVal val="1"/>
              <c:showCatName val="0"/>
              <c:showSerName val="0"/>
              <c:showPercent val="0"/>
              <c:showBubbleSize val="0"/>
            </c:dLbl>
            <c:dLbl>
              <c:idx val="2"/>
              <c:tx>
                <c:rich>
                  <a:bodyPr/>
                  <a:lstStyle/>
                  <a:p>
                    <a:r>
                      <a:t>7.27</a:t>
                    </a:r>
                  </a:p>
                </c:rich>
              </c:tx>
              <c:dLblPos val="t"/>
              <c:showLegendKey val="0"/>
              <c:showVal val="1"/>
              <c:showCatName val="0"/>
              <c:showSerName val="0"/>
              <c:showPercent val="0"/>
              <c:showBubbleSize val="0"/>
            </c:dLbl>
            <c:dLbl>
              <c:idx val="3"/>
              <c:tx>
                <c:rich>
                  <a:bodyPr/>
                  <a:lstStyle/>
                  <a:p>
                    <a:r>
                      <a:t>11.92</a:t>
                    </a:r>
                  </a:p>
                </c:rich>
              </c:tx>
              <c:dLblPos val="t"/>
              <c:showLegendKey val="0"/>
              <c:showVal val="1"/>
              <c:showCatName val="0"/>
              <c:showSerName val="0"/>
              <c:showPercent val="0"/>
              <c:showBubbleSize val="0"/>
            </c:dLbl>
            <c:dLbl>
              <c:idx val="4"/>
              <c:tx>
                <c:rich>
                  <a:bodyPr/>
                  <a:lstStyle/>
                  <a:p>
                    <a:r>
                      <a:t>9.2</a:t>
                    </a:r>
                  </a:p>
                </c:rich>
              </c:tx>
              <c:dLblPos val="t"/>
              <c:showLegendKey val="0"/>
              <c:showVal val="1"/>
              <c:showCatName val="0"/>
              <c:showSerName val="0"/>
              <c:showPercent val="0"/>
              <c:showBubbleSize val="0"/>
            </c:dLbl>
            <c:dLbl>
              <c:idx val="5"/>
              <c:tx>
                <c:rich>
                  <a:bodyPr/>
                  <a:lstStyle/>
                  <a:p>
                    <a:r>
                      <a:t>16.66</a:t>
                    </a:r>
                  </a:p>
                </c:rich>
              </c:tx>
              <c:dLblPos val="t"/>
              <c:showLegendKey val="0"/>
              <c:showVal val="1"/>
              <c:showCatName val="0"/>
              <c:showSerName val="0"/>
              <c:showPercent val="0"/>
              <c:showBubbleSize val="0"/>
            </c:dLbl>
            <c:dLbl>
              <c:idx val="6"/>
              <c:tx>
                <c:rich>
                  <a:bodyPr/>
                  <a:lstStyle/>
                  <a:p>
                    <a:r>
                      <a:t>16.0</a:t>
                    </a:r>
                  </a:p>
                </c:rich>
              </c:tx>
              <c:dLblPos val="t"/>
              <c:showLegendKey val="0"/>
              <c:showVal val="1"/>
              <c:showCatName val="0"/>
              <c:showSerName val="0"/>
              <c:showPercent val="0"/>
              <c:showBubbleSize val="0"/>
            </c:dLbl>
            <c:dLbl>
              <c:idx val="7"/>
              <c:tx>
                <c:rich>
                  <a:bodyPr/>
                  <a:lstStyle/>
                  <a:p>
                    <a:r>
                      <a:t>11.19</a:t>
                    </a:r>
                  </a:p>
                </c:rich>
              </c:tx>
              <c:dLblPos val="t"/>
              <c:showLegendKey val="0"/>
              <c:showVal val="1"/>
              <c:showCatName val="0"/>
              <c:showSerName val="0"/>
              <c:showPercent val="0"/>
              <c:showBubbleSize val="0"/>
            </c:dLbl>
            <c:dLbl>
              <c:idx val="8"/>
              <c:tx>
                <c:rich>
                  <a:bodyPr/>
                  <a:lstStyle/>
                  <a:p>
                    <a:r>
                      <a:t>15.18</a:t>
                    </a:r>
                  </a:p>
                </c:rich>
              </c:tx>
              <c:dLblPos val="t"/>
              <c:showLegendKey val="0"/>
              <c:showVal val="1"/>
              <c:showCatName val="0"/>
              <c:showSerName val="0"/>
              <c:showPercent val="0"/>
              <c:showBubbleSize val="0"/>
            </c:dLbl>
            <c:dLbl>
              <c:idx val="9"/>
              <c:tx>
                <c:rich>
                  <a:bodyPr/>
                  <a:lstStyle/>
                  <a:p>
                    <a:r>
                      <a:t>15.11</a:t>
                    </a:r>
                  </a:p>
                </c:rich>
              </c:tx>
              <c:dLblPos val="t"/>
              <c:showLegendKey val="0"/>
              <c:showVal val="1"/>
              <c:showCatName val="0"/>
              <c:showSerName val="0"/>
              <c:showPercent val="0"/>
              <c:showBubbleSize val="0"/>
            </c:dLbl>
            <c:dLbl>
              <c:idx val="10"/>
              <c:tx>
                <c:rich>
                  <a:bodyPr/>
                  <a:lstStyle/>
                  <a:p>
                    <a:r>
                      <a:t>8.99</a:t>
                    </a:r>
                  </a:p>
                </c:rich>
              </c:tx>
              <c:dLblPos val="t"/>
              <c:showLegendKey val="0"/>
              <c:showVal val="1"/>
              <c:showCatName val="0"/>
              <c:showSerName val="0"/>
              <c:showPercent val="0"/>
              <c:showBubbleSize val="0"/>
            </c:dLbl>
            <c:dLbl>
              <c:idx val="11"/>
              <c:tx>
                <c:rich>
                  <a:bodyPr/>
                  <a:lstStyle/>
                  <a:p>
                    <a:r>
                      <a:t>9.46</a:t>
                    </a:r>
                  </a:p>
                </c:rich>
              </c:tx>
              <c:dLblPos val="t"/>
              <c:showLegendKey val="0"/>
              <c:showVal val="1"/>
              <c:showCatName val="0"/>
              <c:showSerName val="0"/>
              <c:showPercent val="0"/>
              <c:showBubbleSize val="0"/>
            </c:dLbl>
            <c:dLbl>
              <c:idx val="12"/>
              <c:tx>
                <c:rich>
                  <a:bodyPr/>
                  <a:lstStyle/>
                  <a:p>
                    <a:r>
                      <a:t>6.51</a:t>
                    </a:r>
                  </a:p>
                </c:rich>
              </c:tx>
              <c:dLblPos val="t"/>
              <c:showLegendKey val="0"/>
              <c:showVal val="1"/>
              <c:showCatName val="0"/>
              <c:showSerName val="0"/>
              <c:showPercent val="0"/>
              <c:showBubbleSize val="0"/>
            </c:dLbl>
            <c:dLbl>
              <c:idx val="13"/>
              <c:tx>
                <c:rich>
                  <a:bodyPr/>
                  <a:lstStyle/>
                  <a:p>
                    <a:r>
                      <a:t>2.6</a:t>
                    </a:r>
                  </a:p>
                </c:rich>
              </c:tx>
              <c:dLblPos val="t"/>
              <c:showLegendKey val="0"/>
              <c:showVal val="1"/>
              <c:showCatName val="0"/>
              <c:showSerName val="0"/>
              <c:showPercent val="0"/>
              <c:showBubbleSize val="0"/>
            </c:dLbl>
            <c:dLbl>
              <c:idx val="14"/>
              <c:tx>
                <c:rich>
                  <a:bodyPr/>
                  <a:lstStyle/>
                  <a:p>
                    <a:r>
                      <a:t>9.1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CHICK XTREME 3 SENSITIVE BLACK GREEN 3 BLADE DISPOSABLE SENSITIVE 20CT</c:v>
                </c:pt>
                <c:pt idx="1">
                  <c:v>SCHICK XTREME 2 SENSITIVE 2 BLADE DISPOSABLE NORMAL 12CT</c:v>
                </c:pt>
                <c:pt idx="2">
                  <c:v>SCHICK XTREME 3 SENSITIVE BLACK 3 BLADE DISPOSABLE SENSITIVE 4CT</c:v>
                </c:pt>
                <c:pt idx="3">
                  <c:v>SCHICK XTREME 3 SENSITIVE GREEN 3 BLADE DISPOSABLE SENSITIVE 8CT</c:v>
                </c:pt>
                <c:pt idx="4">
                  <c:v>SCHICK XTREME 3 SENSITIVE GREEN BLACK 3 BLADE DISPOSABLE SENSITIVE 4CT</c:v>
                </c:pt>
                <c:pt idx="5">
                  <c:v>SCHICK XTREME 3 SENSITIVE GREEN BLACK 3 BLADE DISPOSABLE SENSITIVE 8CT</c:v>
                </c:pt>
                <c:pt idx="6">
                  <c:v>SCHICK XTREME 3 SENSITIVE GREEN BLACK 3 BLADE DISPOSABLE SENSITIVE 12CT</c:v>
                </c:pt>
                <c:pt idx="7">
                  <c:v>HYDRO 5 5 BLADE DISPOSABLE NORMAL 3CT</c:v>
                </c:pt>
                <c:pt idx="8">
                  <c:v>SCHICK XTREME 3 SENSITIVE GREEN 3 BLADE DISPOSABLE SENSITIVE 12CT</c:v>
                </c:pt>
                <c:pt idx="9">
                  <c:v>SCHICK XTREME 3 SENSITIVE BLACK GREEN 3 BLADE DISPOSABLE SENSITIVE 12CT</c:v>
                </c:pt>
                <c:pt idx="10">
                  <c:v>SCHICK XTREME 4 OUTLAST 4 BLADE DISPOSABLE NORMAL 3CT</c:v>
                </c:pt>
                <c:pt idx="11">
                  <c:v>SCHICK XTREME 3 FACE AND BODY 3 BLADE DISPOSABLE NORMAL 4CT</c:v>
                </c:pt>
                <c:pt idx="12">
                  <c:v>SCHICK XTREME 5 BLACK GRAY 5 BLADE DISPOSABLE SENSITIVE 2CT</c:v>
                </c:pt>
                <c:pt idx="13">
                  <c:v>SCHICK XTREME 3 SENSITIVE 3 BLADE DISPOSABLE SENSITIVE 1CT</c:v>
                </c:pt>
                <c:pt idx="14">
                  <c:v>SCHICK XTREME 3 DUO COMFORT 3 BLADE DISPOSABLE NORMAL 4CT</c:v>
                </c:pt>
              </c:strCache>
            </c:strRef>
          </c:cat>
          <c:val>
            <c:numRef>
              <c:f>Sheet1!$B$2:$B$16</c:f>
              <c:numCache>
                <c:formatCode>General</c:formatCode>
                <c:ptCount val="15"/>
                <c:pt idx="0">
                  <c:v>20.09</c:v>
                </c:pt>
                <c:pt idx="1">
                  <c:v>7.29</c:v>
                </c:pt>
                <c:pt idx="2">
                  <c:v>7.27</c:v>
                </c:pt>
                <c:pt idx="3">
                  <c:v>11.92</c:v>
                </c:pt>
                <c:pt idx="4">
                  <c:v>9.2</c:v>
                </c:pt>
                <c:pt idx="5">
                  <c:v>16.66</c:v>
                </c:pt>
                <c:pt idx="6">
                  <c:v>16.0</c:v>
                </c:pt>
                <c:pt idx="7">
                  <c:v>11.19</c:v>
                </c:pt>
                <c:pt idx="8">
                  <c:v>15.18</c:v>
                </c:pt>
                <c:pt idx="9">
                  <c:v>15.11</c:v>
                </c:pt>
                <c:pt idx="10">
                  <c:v>8.99</c:v>
                </c:pt>
                <c:pt idx="11">
                  <c:v>9.46</c:v>
                </c:pt>
                <c:pt idx="12">
                  <c:v>6.51</c:v>
                </c:pt>
                <c:pt idx="13">
                  <c:v>2.6</c:v>
                </c:pt>
                <c:pt idx="14">
                  <c:v>9.1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1</a:t>
                    </a:r>
                  </a:p>
                </c:rich>
              </c:tx>
              <c:dLblPos val="t"/>
              <c:showLegendKey val="0"/>
              <c:showVal val="1"/>
              <c:showCatName val="0"/>
              <c:showSerName val="0"/>
              <c:showPercent val="0"/>
              <c:showBubbleSize val="0"/>
            </c:dLbl>
            <c:dLbl>
              <c:idx val="1"/>
              <c:tx>
                <c:rich>
                  <a:bodyPr/>
                  <a:lstStyle/>
                  <a:p>
                    <a:r>
                      <a:t>24.7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CHICK XTREME 3 SENSITIVE BLACK GREEN 3 BLADE DISPOSABLE SENSITIVE 20CT</c:v>
                </c:pt>
                <c:pt idx="1">
                  <c:v>SCHICK XTREME 3 SENSITIVE BLACK 3 BLADE DISPOSABLE SENSITIVE 20CT</c:v>
                </c:pt>
              </c:strCache>
            </c:strRef>
          </c:cat>
          <c:val>
            <c:numRef>
              <c:f>Sheet1!$B$2:$B$3</c:f>
              <c:numCache>
                <c:formatCode>General</c:formatCode>
                <c:ptCount val="2"/>
                <c:pt idx="0">
                  <c:v>20.1</c:v>
                </c:pt>
                <c:pt idx="1">
                  <c:v>24.7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5</a:t>
                    </a:r>
                  </a:p>
                </c:rich>
              </c:tx>
              <c:dLblPos val="t"/>
              <c:showLegendKey val="0"/>
              <c:showVal val="1"/>
              <c:showCatName val="0"/>
              <c:showSerName val="0"/>
              <c:showPercent val="0"/>
              <c:showBubbleSize val="0"/>
            </c:dLbl>
            <c:dLbl>
              <c:idx val="1"/>
              <c:tx>
                <c:rich>
                  <a:bodyPr/>
                  <a:lstStyle/>
                  <a:p>
                    <a:r>
                      <a:t>11.02</a:t>
                    </a:r>
                  </a:p>
                </c:rich>
              </c:tx>
              <c:dLblPos val="t"/>
              <c:showLegendKey val="0"/>
              <c:showVal val="1"/>
              <c:showCatName val="0"/>
              <c:showSerName val="0"/>
              <c:showPercent val="0"/>
              <c:showBubbleSize val="0"/>
            </c:dLbl>
            <c:dLbl>
              <c:idx val="2"/>
              <c:tx>
                <c:rich>
                  <a:bodyPr/>
                  <a:lstStyle/>
                  <a:p>
                    <a:r>
                      <a:t>11.02</a:t>
                    </a:r>
                  </a:p>
                </c:rich>
              </c:tx>
              <c:dLblPos val="t"/>
              <c:showLegendKey val="0"/>
              <c:showVal val="1"/>
              <c:showCatName val="0"/>
              <c:showSerName val="0"/>
              <c:showPercent val="0"/>
              <c:showBubbleSize val="0"/>
            </c:dLbl>
            <c:dLbl>
              <c:idx val="3"/>
              <c:tx>
                <c:rich>
                  <a:bodyPr/>
                  <a:lstStyle/>
                  <a:p>
                    <a:r>
                      <a:t>6.53</a:t>
                    </a:r>
                  </a:p>
                </c:rich>
              </c:tx>
              <c:dLblPos val="t"/>
              <c:showLegendKey val="0"/>
              <c:showVal val="1"/>
              <c:showCatName val="0"/>
              <c:showSerName val="0"/>
              <c:showPercent val="0"/>
              <c:showBubbleSize val="0"/>
            </c:dLbl>
            <c:dLbl>
              <c:idx val="4"/>
              <c:tx>
                <c:rich>
                  <a:bodyPr/>
                  <a:lstStyle/>
                  <a:p>
                    <a:r>
                      <a:t>15.1</a:t>
                    </a:r>
                  </a:p>
                </c:rich>
              </c:tx>
              <c:dLblPos val="t"/>
              <c:showLegendKey val="0"/>
              <c:showVal val="1"/>
              <c:showCatName val="0"/>
              <c:showSerName val="0"/>
              <c:showPercent val="0"/>
              <c:showBubbleSize val="0"/>
            </c:dLbl>
            <c:dLbl>
              <c:idx val="5"/>
              <c:tx>
                <c:rich>
                  <a:bodyPr/>
                  <a:lstStyle/>
                  <a:p>
                    <a:r>
                      <a:t>6.49</a:t>
                    </a:r>
                  </a:p>
                </c:rich>
              </c:tx>
              <c:dLblPos val="t"/>
              <c:showLegendKey val="0"/>
              <c:showVal val="1"/>
              <c:showCatName val="0"/>
              <c:showSerName val="0"/>
              <c:showPercent val="0"/>
              <c:showBubbleSize val="0"/>
            </c:dLbl>
            <c:dLbl>
              <c:idx val="6"/>
              <c:tx>
                <c:rich>
                  <a:bodyPr/>
                  <a:lstStyle/>
                  <a:p>
                    <a:r>
                      <a:t>15.04</a:t>
                    </a:r>
                  </a:p>
                </c:rich>
              </c:tx>
              <c:dLblPos val="t"/>
              <c:showLegendKey val="0"/>
              <c:showVal val="1"/>
              <c:showCatName val="0"/>
              <c:showSerName val="0"/>
              <c:showPercent val="0"/>
              <c:showBubbleSize val="0"/>
            </c:dLbl>
            <c:dLbl>
              <c:idx val="7"/>
              <c:tx>
                <c:rich>
                  <a:bodyPr/>
                  <a:lstStyle/>
                  <a:p>
                    <a:r>
                      <a:t>9.9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SCHICK XTREME 2 SENSITIVE 2 BLADE DISPOSABLE NORMAL 12CT</c:v>
                </c:pt>
                <c:pt idx="1">
                  <c:v>SCHICK XTREME 3 SENSITIVE GREEN 3 BLADE DISPOSABLE SENSITIVE 8CT</c:v>
                </c:pt>
                <c:pt idx="2">
                  <c:v>SCHICK XTREME 3 SENSITIVE GREEN BLACK 3 BLADE DISPOSABLE SENSITIVE 8CT</c:v>
                </c:pt>
                <c:pt idx="3">
                  <c:v>SCHICK XTREME 3 SENSITIVE GREEN BLACK 3 BLADE DISPOSABLE SENSITIVE 4CT</c:v>
                </c:pt>
                <c:pt idx="4">
                  <c:v>SCHICK XTREME 3 SENSITIVE GREEN BLACK 3 BLADE DISPOSABLE SENSITIVE 12CT</c:v>
                </c:pt>
                <c:pt idx="5">
                  <c:v>SCHICK XTREME 3 SENSITIVE BLACK 3 BLADE DISPOSABLE SENSITIVE 4CT</c:v>
                </c:pt>
                <c:pt idx="6">
                  <c:v>SCHICK XTREME 3 SENSITIVE BLACK GREEN 3 BLADE DISPOSABLE SENSITIVE 12CT</c:v>
                </c:pt>
                <c:pt idx="7">
                  <c:v>SCHICK XTREME 3 SENSITIVE GREEN HOLIDAY GIFT PACK 3 BLADE DISPOSABLE SENSITIVE 8CT</c:v>
                </c:pt>
              </c:strCache>
            </c:strRef>
          </c:cat>
          <c:val>
            <c:numRef>
              <c:f>Sheet1!$B$2:$B$9</c:f>
              <c:numCache>
                <c:formatCode>General</c:formatCode>
                <c:ptCount val="8"/>
                <c:pt idx="0">
                  <c:v>6.5</c:v>
                </c:pt>
                <c:pt idx="1">
                  <c:v>11.02</c:v>
                </c:pt>
                <c:pt idx="2">
                  <c:v>11.02</c:v>
                </c:pt>
                <c:pt idx="3">
                  <c:v>6.53</c:v>
                </c:pt>
                <c:pt idx="4">
                  <c:v>15.1</c:v>
                </c:pt>
                <c:pt idx="5">
                  <c:v>6.49</c:v>
                </c:pt>
                <c:pt idx="6">
                  <c:v>15.04</c:v>
                </c:pt>
                <c:pt idx="7">
                  <c:v>9.9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5.58</a:t>
                    </a:r>
                  </a:p>
                </c:rich>
              </c:tx>
              <c:dLblPos val="t"/>
              <c:showLegendKey val="0"/>
              <c:showVal val="1"/>
              <c:showCatName val="0"/>
              <c:showSerName val="0"/>
              <c:showPercent val="0"/>
              <c:showBubbleSize val="0"/>
            </c:dLbl>
            <c:dLbl>
              <c:idx val="1"/>
              <c:tx>
                <c:rich>
                  <a:bodyPr/>
                  <a:lstStyle/>
                  <a:p>
                    <a:r>
                      <a:t>27.56</a:t>
                    </a:r>
                  </a:p>
                </c:rich>
              </c:tx>
              <c:dLblPos val="t"/>
              <c:showLegendKey val="0"/>
              <c:showVal val="1"/>
              <c:showCatName val="0"/>
              <c:showSerName val="0"/>
              <c:showPercent val="0"/>
              <c:showBubbleSize val="0"/>
            </c:dLbl>
            <c:dLbl>
              <c:idx val="2"/>
              <c:tx>
                <c:rich>
                  <a:bodyPr/>
                  <a:lstStyle/>
                  <a:p>
                    <a:r>
                      <a:t>17.52</a:t>
                    </a:r>
                  </a:p>
                </c:rich>
              </c:tx>
              <c:dLblPos val="t"/>
              <c:showLegendKey val="0"/>
              <c:showVal val="1"/>
              <c:showCatName val="0"/>
              <c:showSerName val="0"/>
              <c:showPercent val="0"/>
              <c:showBubbleSize val="0"/>
            </c:dLbl>
            <c:dLbl>
              <c:idx val="3"/>
              <c:tx>
                <c:rich>
                  <a:bodyPr/>
                  <a:lstStyle/>
                  <a:p>
                    <a:r>
                      <a:t>14.1</a:t>
                    </a:r>
                  </a:p>
                </c:rich>
              </c:tx>
              <c:dLblPos val="t"/>
              <c:showLegendKey val="0"/>
              <c:showVal val="1"/>
              <c:showCatName val="0"/>
              <c:showSerName val="0"/>
              <c:showPercent val="0"/>
              <c:showBubbleSize val="0"/>
            </c:dLbl>
            <c:dLbl>
              <c:idx val="4"/>
              <c:tx>
                <c:rich>
                  <a:bodyPr/>
                  <a:lstStyle/>
                  <a:p>
                    <a:r>
                      <a:t>24.56</a:t>
                    </a:r>
                  </a:p>
                </c:rich>
              </c:tx>
              <c:dLblPos val="t"/>
              <c:showLegendKey val="0"/>
              <c:showVal val="1"/>
              <c:showCatName val="0"/>
              <c:showSerName val="0"/>
              <c:showPercent val="0"/>
              <c:showBubbleSize val="0"/>
            </c:dLbl>
            <c:dLbl>
              <c:idx val="5"/>
              <c:tx>
                <c:rich>
                  <a:bodyPr/>
                  <a:lstStyle/>
                  <a:p>
                    <a:r>
                      <a:t>13.8</a:t>
                    </a:r>
                  </a:p>
                </c:rich>
              </c:tx>
              <c:dLblPos val="t"/>
              <c:showLegendKey val="0"/>
              <c:showVal val="1"/>
              <c:showCatName val="0"/>
              <c:showSerName val="0"/>
              <c:showPercent val="0"/>
              <c:showBubbleSize val="0"/>
            </c:dLbl>
            <c:dLbl>
              <c:idx val="6"/>
              <c:tx>
                <c:rich>
                  <a:bodyPr/>
                  <a:lstStyle/>
                  <a:p>
                    <a:r>
                      <a:t>12.41</a:t>
                    </a:r>
                  </a:p>
                </c:rich>
              </c:tx>
              <c:dLblPos val="t"/>
              <c:showLegendKey val="0"/>
              <c:showVal val="1"/>
              <c:showCatName val="0"/>
              <c:showSerName val="0"/>
              <c:showPercent val="0"/>
              <c:showBubbleSize val="0"/>
            </c:dLbl>
            <c:dLbl>
              <c:idx val="7"/>
              <c:tx>
                <c:rich>
                  <a:bodyPr/>
                  <a:lstStyle/>
                  <a:p>
                    <a:r>
                      <a:t>22.17</a:t>
                    </a:r>
                  </a:p>
                </c:rich>
              </c:tx>
              <c:dLblPos val="t"/>
              <c:showLegendKey val="0"/>
              <c:showVal val="1"/>
              <c:showCatName val="0"/>
              <c:showSerName val="0"/>
              <c:showPercent val="0"/>
              <c:showBubbleSize val="0"/>
            </c:dLbl>
            <c:dLbl>
              <c:idx val="8"/>
              <c:tx>
                <c:rich>
                  <a:bodyPr/>
                  <a:lstStyle/>
                  <a:p>
                    <a:r>
                      <a:t>10.58</a:t>
                    </a:r>
                  </a:p>
                </c:rich>
              </c:tx>
              <c:dLblPos val="t"/>
              <c:showLegendKey val="0"/>
              <c:showVal val="1"/>
              <c:showCatName val="0"/>
              <c:showSerName val="0"/>
              <c:showPercent val="0"/>
              <c:showBubbleSize val="0"/>
            </c:dLbl>
            <c:dLbl>
              <c:idx val="9"/>
              <c:tx>
                <c:rich>
                  <a:bodyPr/>
                  <a:lstStyle/>
                  <a:p>
                    <a:r>
                      <a:t>11.69</a:t>
                    </a:r>
                  </a:p>
                </c:rich>
              </c:tx>
              <c:dLblPos val="t"/>
              <c:showLegendKey val="0"/>
              <c:showVal val="1"/>
              <c:showCatName val="0"/>
              <c:showSerName val="0"/>
              <c:showPercent val="0"/>
              <c:showBubbleSize val="0"/>
            </c:dLbl>
            <c:dLbl>
              <c:idx val="10"/>
              <c:tx>
                <c:rich>
                  <a:bodyPr/>
                  <a:lstStyle/>
                  <a:p>
                    <a:r>
                      <a:t>12.29</a:t>
                    </a:r>
                  </a:p>
                </c:rich>
              </c:tx>
              <c:dLblPos val="t"/>
              <c:showLegendKey val="0"/>
              <c:showVal val="1"/>
              <c:showCatName val="0"/>
              <c:showSerName val="0"/>
              <c:showPercent val="0"/>
              <c:showBubbleSize val="0"/>
            </c:dLbl>
            <c:dLbl>
              <c:idx val="11"/>
              <c:tx>
                <c:rich>
                  <a:bodyPr/>
                  <a:lstStyle/>
                  <a:p>
                    <a:r>
                      <a:t>10.0</a:t>
                    </a:r>
                  </a:p>
                </c:rich>
              </c:tx>
              <c:dLblPos val="t"/>
              <c:showLegendKey val="0"/>
              <c:showVal val="1"/>
              <c:showCatName val="0"/>
              <c:showSerName val="0"/>
              <c:showPercent val="0"/>
              <c:showBubbleSize val="0"/>
            </c:dLbl>
            <c:dLbl>
              <c:idx val="12"/>
              <c:tx>
                <c:rich>
                  <a:bodyPr/>
                  <a:lstStyle/>
                  <a:p>
                    <a:r>
                      <a:t>40.74</a:t>
                    </a:r>
                  </a:p>
                </c:rich>
              </c:tx>
              <c:dLblPos val="t"/>
              <c:showLegendKey val="0"/>
              <c:showVal val="1"/>
              <c:showCatName val="0"/>
              <c:showSerName val="0"/>
              <c:showPercent val="0"/>
              <c:showBubbleSize val="0"/>
            </c:dLbl>
            <c:dLbl>
              <c:idx val="13"/>
              <c:tx>
                <c:rich>
                  <a:bodyPr/>
                  <a:lstStyle/>
                  <a:p>
                    <a:r>
                      <a:t>12.27</a:t>
                    </a:r>
                  </a:p>
                </c:rich>
              </c:tx>
              <c:dLblPos val="t"/>
              <c:showLegendKey val="0"/>
              <c:showVal val="1"/>
              <c:showCatName val="0"/>
              <c:showSerName val="0"/>
              <c:showPercent val="0"/>
              <c:showBubbleSize val="0"/>
            </c:dLbl>
            <c:dLbl>
              <c:idx val="14"/>
              <c:tx>
                <c:rich>
                  <a:bodyPr/>
                  <a:lstStyle/>
                  <a:p>
                    <a:r>
                      <a:t>15.8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HYDRO 5 SENSITIVE 5 BLADE REFILL SENSITIVE 6CT</c:v>
                </c:pt>
                <c:pt idx="1">
                  <c:v>HYDRO 5 SENSITIVE 5 BLADE REFILL SENSITIVE 12CT</c:v>
                </c:pt>
                <c:pt idx="2">
                  <c:v>HYDRO 5 DRY SKIN 5 BLADE REFILL DRY 6CT</c:v>
                </c:pt>
                <c:pt idx="3">
                  <c:v>SCHICK QUATTRO FOR MEN 4 BLADE REFILL NORMAL 8CT</c:v>
                </c:pt>
                <c:pt idx="4">
                  <c:v>SCHICK HYDRO STUBBLE ERASER 5 BLADE REFILL NORMAL 12CT</c:v>
                </c:pt>
                <c:pt idx="5">
                  <c:v>CREMO 5 BLADE REFILL NORMAL 4CT</c:v>
                </c:pt>
                <c:pt idx="6">
                  <c:v>SCHICK HYDRO 3 SENSITIVE 3 BLADE REFILL SENSITIVE 5CT</c:v>
                </c:pt>
                <c:pt idx="7">
                  <c:v>SCHICK HYDRO 3 SENSITIVE 3 BLADE REFILL SENSITIVE 12CT</c:v>
                </c:pt>
                <c:pt idx="8">
                  <c:v>HYDRO 5 SENSITIVE 5 BLADE RAZOR SENSITIVE 3CT</c:v>
                </c:pt>
                <c:pt idx="9">
                  <c:v>HYDRO 5 DRY SKIN 5 BLADE RAZOR DRY 3CT</c:v>
                </c:pt>
                <c:pt idx="10">
                  <c:v>SCHICK QUATTRO FOR MEN 4 BLADE RAZOR NORMAL 4CT</c:v>
                </c:pt>
                <c:pt idx="11">
                  <c:v>HYDRO 5 SENSITIVE GRAY HOLIDAY GIFT PACK 5 BLADE RAZOR SENSITIVE 3CT</c:v>
                </c:pt>
                <c:pt idx="12">
                  <c:v>HYDRO 5 SENSITIVE 5 BLADE RAZOR SENSITIVE 17CT</c:v>
                </c:pt>
                <c:pt idx="13">
                  <c:v>SCHICK HYDRO 3 SENSITIVE 3 BLADE RAZOR SENSITIVE 4CT</c:v>
                </c:pt>
                <c:pt idx="14">
                  <c:v>CREMO 5 BLADE RAZOR NORMAL 2CT</c:v>
                </c:pt>
              </c:strCache>
            </c:strRef>
          </c:cat>
          <c:val>
            <c:numRef>
              <c:f>Sheet1!$B$2:$B$16</c:f>
              <c:numCache>
                <c:formatCode>General</c:formatCode>
                <c:ptCount val="15"/>
                <c:pt idx="0">
                  <c:v>15.58</c:v>
                </c:pt>
                <c:pt idx="1">
                  <c:v>27.56</c:v>
                </c:pt>
                <c:pt idx="2">
                  <c:v>17.52</c:v>
                </c:pt>
                <c:pt idx="3">
                  <c:v>14.1</c:v>
                </c:pt>
                <c:pt idx="4">
                  <c:v>24.56</c:v>
                </c:pt>
                <c:pt idx="5">
                  <c:v>13.8</c:v>
                </c:pt>
                <c:pt idx="6">
                  <c:v>12.41</c:v>
                </c:pt>
                <c:pt idx="7">
                  <c:v>22.17</c:v>
                </c:pt>
                <c:pt idx="8">
                  <c:v>10.58</c:v>
                </c:pt>
                <c:pt idx="9">
                  <c:v>11.69</c:v>
                </c:pt>
                <c:pt idx="10">
                  <c:v>12.29</c:v>
                </c:pt>
                <c:pt idx="11">
                  <c:v>10.0</c:v>
                </c:pt>
                <c:pt idx="12">
                  <c:v>40.74</c:v>
                </c:pt>
                <c:pt idx="13">
                  <c:v>12.27</c:v>
                </c:pt>
                <c:pt idx="14">
                  <c:v>15.8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91</a:t>
                    </a:r>
                  </a:p>
                </c:rich>
              </c:tx>
              <c:dLblPos val="t"/>
              <c:showLegendKey val="0"/>
              <c:showVal val="1"/>
              <c:showCatName val="0"/>
              <c:showSerName val="0"/>
              <c:showPercent val="0"/>
              <c:showBubbleSize val="0"/>
            </c:dLbl>
            <c:dLbl>
              <c:idx val="1"/>
              <c:tx>
                <c:rich>
                  <a:bodyPr/>
                  <a:lstStyle/>
                  <a:p>
                    <a:r>
                      <a:t>26.97</a:t>
                    </a:r>
                  </a:p>
                </c:rich>
              </c:tx>
              <c:dLblPos val="t"/>
              <c:showLegendKey val="0"/>
              <c:showVal val="1"/>
              <c:showCatName val="0"/>
              <c:showSerName val="0"/>
              <c:showPercent val="0"/>
              <c:showBubbleSize val="0"/>
            </c:dLbl>
            <c:dLbl>
              <c:idx val="2"/>
              <c:tx>
                <c:rich>
                  <a:bodyPr/>
                  <a:lstStyle/>
                  <a:p>
                    <a:r>
                      <a:t>9.92</a:t>
                    </a:r>
                  </a:p>
                </c:rich>
              </c:tx>
              <c:dLblPos val="t"/>
              <c:showLegendKey val="0"/>
              <c:showVal val="1"/>
              <c:showCatName val="0"/>
              <c:showSerName val="0"/>
              <c:showPercent val="0"/>
              <c:showBubbleSize val="0"/>
            </c:dLbl>
            <c:dLbl>
              <c:idx val="3"/>
              <c:tx>
                <c:rich>
                  <a:bodyPr/>
                  <a:lstStyle/>
                  <a:p>
                    <a:r>
                      <a:t>13.85</a:t>
                    </a:r>
                  </a:p>
                </c:rich>
              </c:tx>
              <c:dLblPos val="t"/>
              <c:showLegendKey val="0"/>
              <c:showVal val="1"/>
              <c:showCatName val="0"/>
              <c:showSerName val="0"/>
              <c:showPercent val="0"/>
              <c:showBubbleSize val="0"/>
            </c:dLbl>
            <c:dLbl>
              <c:idx val="4"/>
              <c:tx>
                <c:rich>
                  <a:bodyPr/>
                  <a:lstStyle/>
                  <a:p>
                    <a:r>
                      <a:t>7.76</a:t>
                    </a:r>
                  </a:p>
                </c:rich>
              </c:tx>
              <c:dLblPos val="t"/>
              <c:showLegendKey val="0"/>
              <c:showVal val="1"/>
              <c:showCatName val="0"/>
              <c:showSerName val="0"/>
              <c:showPercent val="0"/>
              <c:showBubbleSize val="0"/>
            </c:dLbl>
            <c:dLbl>
              <c:idx val="5"/>
              <c:tx>
                <c:rich>
                  <a:bodyPr/>
                  <a:lstStyle/>
                  <a:p>
                    <a:r>
                      <a:t>9.96</a:t>
                    </a:r>
                  </a:p>
                </c:rich>
              </c:tx>
              <c:dLblPos val="t"/>
              <c:showLegendKey val="0"/>
              <c:showVal val="1"/>
              <c:showCatName val="0"/>
              <c:showSerName val="0"/>
              <c:showPercent val="0"/>
              <c:showBubbleSize val="0"/>
            </c:dLbl>
            <c:dLbl>
              <c:idx val="6"/>
              <c:tx>
                <c:rich>
                  <a:bodyPr/>
                  <a:lstStyle/>
                  <a:p>
                    <a:r>
                      <a:t>10.0</a:t>
                    </a:r>
                  </a:p>
                </c:rich>
              </c:tx>
              <c:dLblPos val="t"/>
              <c:showLegendKey val="0"/>
              <c:showVal val="1"/>
              <c:showCatName val="0"/>
              <c:showSerName val="0"/>
              <c:showPercent val="0"/>
              <c:showBubbleSize val="0"/>
            </c:dLbl>
            <c:dLbl>
              <c:idx val="7"/>
              <c:tx>
                <c:rich>
                  <a:bodyPr/>
                  <a:lstStyle/>
                  <a:p>
                    <a:r>
                      <a:t>9.97</a:t>
                    </a:r>
                  </a:p>
                </c:rich>
              </c:tx>
              <c:dLblPos val="t"/>
              <c:showLegendKey val="0"/>
              <c:showVal val="1"/>
              <c:showCatName val="0"/>
              <c:showSerName val="0"/>
              <c:showPercent val="0"/>
              <c:showBubbleSize val="0"/>
            </c:dLbl>
            <c:dLbl>
              <c:idx val="8"/>
              <c:tx>
                <c:rich>
                  <a:bodyPr/>
                  <a:lstStyle/>
                  <a:p>
                    <a:r>
                      <a:t>16.85</a:t>
                    </a:r>
                  </a:p>
                </c:rich>
              </c:tx>
              <c:dLblPos val="t"/>
              <c:showLegendKey val="0"/>
              <c:showVal val="1"/>
              <c:showCatName val="0"/>
              <c:showSerName val="0"/>
              <c:showPercent val="0"/>
              <c:showBubbleSize val="0"/>
            </c:dLbl>
            <c:dLbl>
              <c:idx val="9"/>
              <c:tx>
                <c:rich>
                  <a:bodyPr/>
                  <a:lstStyle/>
                  <a:p>
                    <a:r>
                      <a:t>5.74</a:t>
                    </a:r>
                  </a:p>
                </c:rich>
              </c:tx>
              <c:dLblPos val="t"/>
              <c:showLegendKey val="0"/>
              <c:showVal val="1"/>
              <c:showCatName val="0"/>
              <c:showSerName val="0"/>
              <c:showPercent val="0"/>
              <c:showBubbleSize val="0"/>
            </c:dLbl>
            <c:dLbl>
              <c:idx val="10"/>
              <c:tx>
                <c:rich>
                  <a:bodyPr/>
                  <a:lstStyle/>
                  <a:p>
                    <a:r>
                      <a:t>9.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HYDRO 5 SENSITIVE 5 BLADE REFILL SENSITIVE 6CT</c:v>
                </c:pt>
                <c:pt idx="1">
                  <c:v>HYDRO 5 SENSITIVE 5 BLADE REFILL SENSITIVE 12CT</c:v>
                </c:pt>
                <c:pt idx="2">
                  <c:v>SCHICK HYDRO 3 SENSITIVE 3 BLADE REFILL SENSITIVE 5CT</c:v>
                </c:pt>
                <c:pt idx="3">
                  <c:v>CREMO 5 BLADE REFILL NORMAL 4CT</c:v>
                </c:pt>
                <c:pt idx="4">
                  <c:v>HYDRO 5 SENSITIVE 5 BLADE REFILL SENSITIVE 4CT</c:v>
                </c:pt>
                <c:pt idx="5">
                  <c:v>HYDRO 5 SENSITIVE 5 BLADE RAZOR SENSITIVE 3CT</c:v>
                </c:pt>
                <c:pt idx="6">
                  <c:v>HYDRO 5 SENSITIVE GRAY HOLIDAY GIFT PACK 5 BLADE RAZOR SENSITIVE 3CT</c:v>
                </c:pt>
                <c:pt idx="7">
                  <c:v>SCHICK HYDRO 3 SENSITIVE 3 BLADE RAZOR SENSITIVE 4CT</c:v>
                </c:pt>
                <c:pt idx="8">
                  <c:v>CREMO 5 BLADE RAZOR NORMAL 2CT</c:v>
                </c:pt>
                <c:pt idx="9">
                  <c:v>HYDRO 5 SENSITIVE 5 BLADE RAZOR SENSITIVE 2CT</c:v>
                </c:pt>
                <c:pt idx="10">
                  <c:v>HYDRO 5 DRY SKIN 5 BLADE RAZOR DRY 2CT</c:v>
                </c:pt>
              </c:strCache>
            </c:strRef>
          </c:cat>
          <c:val>
            <c:numRef>
              <c:f>Sheet1!$B$2:$B$12</c:f>
              <c:numCache>
                <c:formatCode>General</c:formatCode>
                <c:ptCount val="11"/>
                <c:pt idx="0">
                  <c:v>14.91</c:v>
                </c:pt>
                <c:pt idx="1">
                  <c:v>26.97</c:v>
                </c:pt>
                <c:pt idx="2">
                  <c:v>9.92</c:v>
                </c:pt>
                <c:pt idx="3">
                  <c:v>13.85</c:v>
                </c:pt>
                <c:pt idx="4">
                  <c:v>7.76</c:v>
                </c:pt>
                <c:pt idx="5">
                  <c:v>9.96</c:v>
                </c:pt>
                <c:pt idx="6">
                  <c:v>10.0</c:v>
                </c:pt>
                <c:pt idx="7">
                  <c:v>9.97</c:v>
                </c:pt>
                <c:pt idx="8">
                  <c:v>16.85</c:v>
                </c:pt>
                <c:pt idx="9">
                  <c:v>5.74</c:v>
                </c:pt>
                <c:pt idx="10">
                  <c:v>9.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7.19</a:t>
                    </a:r>
                  </a:p>
                </c:rich>
              </c:tx>
              <c:dLblPos val="t"/>
              <c:showLegendKey val="0"/>
              <c:showVal val="1"/>
              <c:showCatName val="0"/>
              <c:showSerName val="0"/>
              <c:showPercent val="0"/>
              <c:showBubbleSize val="0"/>
            </c:dLbl>
            <c:dLbl>
              <c:idx val="1"/>
              <c:tx>
                <c:rich>
                  <a:bodyPr/>
                  <a:lstStyle/>
                  <a:p>
                    <a:r>
                      <a:t>7.21</a:t>
                    </a:r>
                  </a:p>
                </c:rich>
              </c:tx>
              <c:dLblPos val="t"/>
              <c:showLegendKey val="0"/>
              <c:showVal val="1"/>
              <c:showCatName val="0"/>
              <c:showSerName val="0"/>
              <c:showPercent val="0"/>
              <c:showBubbleSize val="0"/>
            </c:dLbl>
            <c:dLbl>
              <c:idx val="2"/>
              <c:tx>
                <c:rich>
                  <a:bodyPr/>
                  <a:lstStyle/>
                  <a:p>
                    <a:r>
                      <a:t>11.82</a:t>
                    </a:r>
                  </a:p>
                </c:rich>
              </c:tx>
              <c:dLblPos val="t"/>
              <c:showLegendKey val="0"/>
              <c:showVal val="1"/>
              <c:showCatName val="0"/>
              <c:showSerName val="0"/>
              <c:showPercent val="0"/>
              <c:showBubbleSize val="0"/>
            </c:dLbl>
            <c:dLbl>
              <c:idx val="3"/>
              <c:tx>
                <c:rich>
                  <a:bodyPr/>
                  <a:lstStyle/>
                  <a:p>
                    <a:r>
                      <a:t>20.21</a:t>
                    </a:r>
                  </a:p>
                </c:rich>
              </c:tx>
              <c:dLblPos val="t"/>
              <c:showLegendKey val="0"/>
              <c:showVal val="1"/>
              <c:showCatName val="0"/>
              <c:showSerName val="0"/>
              <c:showPercent val="0"/>
              <c:showBubbleSize val="0"/>
            </c:dLbl>
            <c:dLbl>
              <c:idx val="4"/>
              <c:tx>
                <c:rich>
                  <a:bodyPr/>
                  <a:lstStyle/>
                  <a:p>
                    <a:r>
                      <a:t>15.09</a:t>
                    </a:r>
                  </a:p>
                </c:rich>
              </c:tx>
              <c:dLblPos val="t"/>
              <c:showLegendKey val="0"/>
              <c:showVal val="1"/>
              <c:showCatName val="0"/>
              <c:showSerName val="0"/>
              <c:showPercent val="0"/>
              <c:showBubbleSize val="0"/>
            </c:dLbl>
            <c:dLbl>
              <c:idx val="5"/>
              <c:tx>
                <c:rich>
                  <a:bodyPr/>
                  <a:lstStyle/>
                  <a:p>
                    <a:r>
                      <a:t>11.22</a:t>
                    </a:r>
                  </a:p>
                </c:rich>
              </c:tx>
              <c:dLblPos val="t"/>
              <c:showLegendKey val="0"/>
              <c:showVal val="1"/>
              <c:showCatName val="0"/>
              <c:showSerName val="0"/>
              <c:showPercent val="0"/>
              <c:showBubbleSize val="0"/>
            </c:dLbl>
            <c:dLbl>
              <c:idx val="6"/>
              <c:tx>
                <c:rich>
                  <a:bodyPr/>
                  <a:lstStyle/>
                  <a:p>
                    <a:r>
                      <a:t>14.86</a:t>
                    </a:r>
                  </a:p>
                </c:rich>
              </c:tx>
              <c:dLblPos val="t"/>
              <c:showLegendKey val="0"/>
              <c:showVal val="1"/>
              <c:showCatName val="0"/>
              <c:showSerName val="0"/>
              <c:showPercent val="0"/>
              <c:showBubbleSize val="0"/>
            </c:dLbl>
            <c:dLbl>
              <c:idx val="7"/>
              <c:tx>
                <c:rich>
                  <a:bodyPr/>
                  <a:lstStyle/>
                  <a:p>
                    <a:r>
                      <a:t>10.0</a:t>
                    </a:r>
                  </a:p>
                </c:rich>
              </c:tx>
              <c:dLblPos val="t"/>
              <c:showLegendKey val="0"/>
              <c:showVal val="1"/>
              <c:showCatName val="0"/>
              <c:showSerName val="0"/>
              <c:showPercent val="0"/>
              <c:showBubbleSize val="0"/>
            </c:dLbl>
            <c:dLbl>
              <c:idx val="8"/>
              <c:tx>
                <c:rich>
                  <a:bodyPr/>
                  <a:lstStyle/>
                  <a:p>
                    <a:r>
                      <a:t>9.2</a:t>
                    </a:r>
                  </a:p>
                </c:rich>
              </c:tx>
              <c:dLblPos val="t"/>
              <c:showLegendKey val="0"/>
              <c:showVal val="1"/>
              <c:showCatName val="0"/>
              <c:showSerName val="0"/>
              <c:showPercent val="0"/>
              <c:showBubbleSize val="0"/>
            </c:dLbl>
            <c:dLbl>
              <c:idx val="9"/>
              <c:tx>
                <c:rich>
                  <a:bodyPr/>
                  <a:lstStyle/>
                  <a:p>
                    <a:r>
                      <a:t>9.65</a:t>
                    </a:r>
                  </a:p>
                </c:rich>
              </c:tx>
              <c:dLblPos val="t"/>
              <c:showLegendKey val="0"/>
              <c:showVal val="1"/>
              <c:showCatName val="0"/>
              <c:showSerName val="0"/>
              <c:showPercent val="0"/>
              <c:showBubbleSize val="0"/>
            </c:dLbl>
            <c:dLbl>
              <c:idx val="10"/>
              <c:tx>
                <c:rich>
                  <a:bodyPr/>
                  <a:lstStyle/>
                  <a:p>
                    <a:r>
                      <a:t>8.66</a:t>
                    </a:r>
                  </a:p>
                </c:rich>
              </c:tx>
              <c:dLblPos val="t"/>
              <c:showLegendKey val="0"/>
              <c:showVal val="1"/>
              <c:showCatName val="0"/>
              <c:showSerName val="0"/>
              <c:showPercent val="0"/>
              <c:showBubbleSize val="0"/>
            </c:dLbl>
            <c:dLbl>
              <c:idx val="11"/>
              <c:tx>
                <c:rich>
                  <a:bodyPr/>
                  <a:lstStyle/>
                  <a:p>
                    <a:r>
                      <a:t>16.67</a:t>
                    </a:r>
                  </a:p>
                </c:rich>
              </c:tx>
              <c:dLblPos val="t"/>
              <c:showLegendKey val="0"/>
              <c:showVal val="1"/>
              <c:showCatName val="0"/>
              <c:showSerName val="0"/>
              <c:showPercent val="0"/>
              <c:showBubbleSize val="0"/>
            </c:dLbl>
            <c:dLbl>
              <c:idx val="12"/>
              <c:tx>
                <c:rich>
                  <a:bodyPr/>
                  <a:lstStyle/>
                  <a:p>
                    <a:r>
                      <a:t>9.13</a:t>
                    </a:r>
                  </a:p>
                </c:rich>
              </c:tx>
              <c:dLblPos val="t"/>
              <c:showLegendKey val="0"/>
              <c:showVal val="1"/>
              <c:showCatName val="0"/>
              <c:showSerName val="0"/>
              <c:showPercent val="0"/>
              <c:showBubbleSize val="0"/>
            </c:dLbl>
            <c:dLbl>
              <c:idx val="13"/>
              <c:tx>
                <c:rich>
                  <a:bodyPr/>
                  <a:lstStyle/>
                  <a:p>
                    <a:r>
                      <a:t>22.63</a:t>
                    </a:r>
                  </a:p>
                </c:rich>
              </c:tx>
              <c:dLblPos val="t"/>
              <c:showLegendKey val="0"/>
              <c:showVal val="1"/>
              <c:showCatName val="0"/>
              <c:showSerName val="0"/>
              <c:showPercent val="0"/>
              <c:showBubbleSize val="0"/>
            </c:dLbl>
            <c:dLbl>
              <c:idx val="14"/>
              <c:tx>
                <c:rich>
                  <a:bodyPr/>
                  <a:lstStyle/>
                  <a:p>
                    <a:r>
                      <a:t>16.0</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CHICK XTREME 3 SENSITIVE BLACK 3 BLADE DISPOSABLE SENSITIVE 4CT</c:v>
                </c:pt>
                <c:pt idx="1">
                  <c:v>SCHICK XTREME 2 SENSITIVE 2 BLADE DISPOSABLE NORMAL 12CT</c:v>
                </c:pt>
                <c:pt idx="2">
                  <c:v>SCHICK XTREME 3 SENSITIVE GREEN 3 BLADE DISPOSABLE SENSITIVE 8CT</c:v>
                </c:pt>
                <c:pt idx="3">
                  <c:v>SCHICK XTREME 3 SENSITIVE BLACK GREEN 3 BLADE DISPOSABLE SENSITIVE 20CT</c:v>
                </c:pt>
                <c:pt idx="4">
                  <c:v>SCHICK XTREME 3 SENSITIVE BLACK GREEN 3 BLADE DISPOSABLE SENSITIVE 12CT</c:v>
                </c:pt>
                <c:pt idx="5">
                  <c:v>HYDRO 5 5 BLADE DISPOSABLE NORMAL 3CT</c:v>
                </c:pt>
                <c:pt idx="6">
                  <c:v>SCHICK XTREME 3 SENSITIVE GREEN 3 BLADE DISPOSABLE SENSITIVE 12CT</c:v>
                </c:pt>
                <c:pt idx="7">
                  <c:v>SCHICK XTREME 3 SENSITIVE GREEN HOLIDAY GIFT PACK 3 BLADE DISPOSABLE SENSITIVE 8CT</c:v>
                </c:pt>
                <c:pt idx="8">
                  <c:v>SCHICK XTREME 3 SENSITIVE GREEN BLACK 3 BLADE DISPOSABLE SENSITIVE 4CT</c:v>
                </c:pt>
                <c:pt idx="9">
                  <c:v>SCHICK XTREME 3 FACE AND BODY 3 BLADE DISPOSABLE NORMAL 4CT</c:v>
                </c:pt>
                <c:pt idx="10">
                  <c:v>SCHICK XTREME 4 OUTLAST 4 BLADE DISPOSABLE NORMAL 3CT</c:v>
                </c:pt>
                <c:pt idx="11">
                  <c:v>SCHICK XTREME 3 SENSITIVE GREEN BLACK 3 BLADE DISPOSABLE SENSITIVE 8CT</c:v>
                </c:pt>
                <c:pt idx="12">
                  <c:v>SCHICK XTREME 3 DUO COMFORT 3 BLADE DISPOSABLE NORMAL 4CT</c:v>
                </c:pt>
                <c:pt idx="13">
                  <c:v>SCHICK XTREME 3 SENSITIVE BLACK 3 BLADE DISPOSABLE SENSITIVE 20CT</c:v>
                </c:pt>
                <c:pt idx="14">
                  <c:v>SCHICK XTREME 3 SENSITIVE GREEN BLACK 3 BLADE DISPOSABLE SENSITIVE 12CT</c:v>
                </c:pt>
              </c:strCache>
            </c:strRef>
          </c:cat>
          <c:val>
            <c:numRef>
              <c:f>Sheet1!$B$2:$B$16</c:f>
              <c:numCache>
                <c:formatCode>General</c:formatCode>
                <c:ptCount val="15"/>
                <c:pt idx="0">
                  <c:v>7.19</c:v>
                </c:pt>
                <c:pt idx="1">
                  <c:v>7.21</c:v>
                </c:pt>
                <c:pt idx="2">
                  <c:v>11.82</c:v>
                </c:pt>
                <c:pt idx="3">
                  <c:v>20.21</c:v>
                </c:pt>
                <c:pt idx="4">
                  <c:v>15.09</c:v>
                </c:pt>
                <c:pt idx="5">
                  <c:v>11.22</c:v>
                </c:pt>
                <c:pt idx="6">
                  <c:v>14.86</c:v>
                </c:pt>
                <c:pt idx="7">
                  <c:v>10.0</c:v>
                </c:pt>
                <c:pt idx="8">
                  <c:v>9.2</c:v>
                </c:pt>
                <c:pt idx="9">
                  <c:v>9.65</c:v>
                </c:pt>
                <c:pt idx="10">
                  <c:v>8.66</c:v>
                </c:pt>
                <c:pt idx="11">
                  <c:v>16.67</c:v>
                </c:pt>
                <c:pt idx="12">
                  <c:v>9.13</c:v>
                </c:pt>
                <c:pt idx="13">
                  <c:v>22.63</c:v>
                </c:pt>
                <c:pt idx="14">
                  <c:v>16.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22</a:t>
                    </a:r>
                  </a:p>
                </c:rich>
              </c:tx>
              <c:dLblPos val="t"/>
              <c:showLegendKey val="0"/>
              <c:showVal val="1"/>
              <c:showCatName val="0"/>
              <c:showSerName val="0"/>
              <c:showPercent val="0"/>
              <c:showBubbleSize val="0"/>
            </c:dLbl>
            <c:dLbl>
              <c:idx val="1"/>
              <c:tx>
                <c:rich>
                  <a:bodyPr/>
                  <a:lstStyle/>
                  <a:p>
                    <a:r>
                      <a:t>22.86</a:t>
                    </a:r>
                  </a:p>
                </c:rich>
              </c:tx>
              <c:dLblPos val="t"/>
              <c:showLegendKey val="0"/>
              <c:showVal val="1"/>
              <c:showCatName val="0"/>
              <c:showSerName val="0"/>
              <c:showPercent val="0"/>
              <c:showBubbleSize val="0"/>
            </c:dLbl>
            <c:dLbl>
              <c:idx val="2"/>
              <c:tx>
                <c:rich>
                  <a:bodyPr/>
                  <a:lstStyle/>
                  <a:p>
                    <a:r>
                      <a:t>25.21</a:t>
                    </a:r>
                  </a:p>
                </c:rich>
              </c:tx>
              <c:dLblPos val="t"/>
              <c:showLegendKey val="0"/>
              <c:showVal val="1"/>
              <c:showCatName val="0"/>
              <c:showSerName val="0"/>
              <c:showPercent val="0"/>
              <c:showBubbleSize val="0"/>
            </c:dLbl>
            <c:dLbl>
              <c:idx val="3"/>
              <c:tx>
                <c:rich>
                  <a:bodyPr/>
                  <a:lstStyle/>
                  <a:p>
                    <a:r>
                      <a:t>22.0</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CHICK XTREME 3 SENSITIVE BLACK GREEN 3 BLADE DISPOSABLE SENSITIVE 20CT</c:v>
                </c:pt>
                <c:pt idx="1">
                  <c:v>SCHICK XTREME 3 SENSITIVE BLACK 3 BLADE DISPOSABLE SENSITIVE 20CT</c:v>
                </c:pt>
                <c:pt idx="2">
                  <c:v>SCHICK XTREME 3 SENSITIVE 3 BLADE DISPOSABLE SENSITIVE 25CT</c:v>
                </c:pt>
                <c:pt idx="3">
                  <c:v>SCHICK XTREME 3 3 BLADE DISPOSABLE SENSITIVE 20CT</c:v>
                </c:pt>
              </c:strCache>
            </c:strRef>
          </c:cat>
          <c:val>
            <c:numRef>
              <c:f>Sheet1!$B$2:$B$5</c:f>
              <c:numCache>
                <c:formatCode>General</c:formatCode>
                <c:ptCount val="4"/>
                <c:pt idx="0">
                  <c:v>20.22</c:v>
                </c:pt>
                <c:pt idx="1">
                  <c:v>22.86</c:v>
                </c:pt>
                <c:pt idx="2">
                  <c:v>25.21</c:v>
                </c:pt>
                <c:pt idx="3">
                  <c:v>22.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5</a:t>
                    </a:r>
                  </a:p>
                </c:rich>
              </c:tx>
              <c:dLblPos val="t"/>
              <c:showLegendKey val="0"/>
              <c:showVal val="1"/>
              <c:showCatName val="0"/>
              <c:showSerName val="0"/>
              <c:showPercent val="0"/>
              <c:showBubbleSize val="0"/>
            </c:dLbl>
            <c:dLbl>
              <c:idx val="1"/>
              <c:tx>
                <c:rich>
                  <a:bodyPr/>
                  <a:lstStyle/>
                  <a:p>
                    <a:r>
                      <a:t>11.02</a:t>
                    </a:r>
                  </a:p>
                </c:rich>
              </c:tx>
              <c:dLblPos val="t"/>
              <c:showLegendKey val="0"/>
              <c:showVal val="1"/>
              <c:showCatName val="0"/>
              <c:showSerName val="0"/>
              <c:showPercent val="0"/>
              <c:showBubbleSize val="0"/>
            </c:dLbl>
            <c:dLbl>
              <c:idx val="2"/>
              <c:tx>
                <c:rich>
                  <a:bodyPr/>
                  <a:lstStyle/>
                  <a:p>
                    <a:r>
                      <a:t>11.02</a:t>
                    </a:r>
                  </a:p>
                </c:rich>
              </c:tx>
              <c:dLblPos val="t"/>
              <c:showLegendKey val="0"/>
              <c:showVal val="1"/>
              <c:showCatName val="0"/>
              <c:showSerName val="0"/>
              <c:showPercent val="0"/>
              <c:showBubbleSize val="0"/>
            </c:dLbl>
            <c:dLbl>
              <c:idx val="3"/>
              <c:tx>
                <c:rich>
                  <a:bodyPr/>
                  <a:lstStyle/>
                  <a:p>
                    <a:r>
                      <a:t>6.53</a:t>
                    </a:r>
                  </a:p>
                </c:rich>
              </c:tx>
              <c:dLblPos val="t"/>
              <c:showLegendKey val="0"/>
              <c:showVal val="1"/>
              <c:showCatName val="0"/>
              <c:showSerName val="0"/>
              <c:showPercent val="0"/>
              <c:showBubbleSize val="0"/>
            </c:dLbl>
            <c:dLbl>
              <c:idx val="4"/>
              <c:tx>
                <c:rich>
                  <a:bodyPr/>
                  <a:lstStyle/>
                  <a:p>
                    <a:r>
                      <a:t>15.1</a:t>
                    </a:r>
                  </a:p>
                </c:rich>
              </c:tx>
              <c:dLblPos val="t"/>
              <c:showLegendKey val="0"/>
              <c:showVal val="1"/>
              <c:showCatName val="0"/>
              <c:showSerName val="0"/>
              <c:showPercent val="0"/>
              <c:showBubbleSize val="0"/>
            </c:dLbl>
            <c:dLbl>
              <c:idx val="5"/>
              <c:tx>
                <c:rich>
                  <a:bodyPr/>
                  <a:lstStyle/>
                  <a:p>
                    <a:r>
                      <a:t>6.49</a:t>
                    </a:r>
                  </a:p>
                </c:rich>
              </c:tx>
              <c:dLblPos val="t"/>
              <c:showLegendKey val="0"/>
              <c:showVal val="1"/>
              <c:showCatName val="0"/>
              <c:showSerName val="0"/>
              <c:showPercent val="0"/>
              <c:showBubbleSize val="0"/>
            </c:dLbl>
            <c:dLbl>
              <c:idx val="6"/>
              <c:tx>
                <c:rich>
                  <a:bodyPr/>
                  <a:lstStyle/>
                  <a:p>
                    <a:r>
                      <a:t>15.04</a:t>
                    </a:r>
                  </a:p>
                </c:rich>
              </c:tx>
              <c:dLblPos val="t"/>
              <c:showLegendKey val="0"/>
              <c:showVal val="1"/>
              <c:showCatName val="0"/>
              <c:showSerName val="0"/>
              <c:showPercent val="0"/>
              <c:showBubbleSize val="0"/>
            </c:dLbl>
            <c:dLbl>
              <c:idx val="7"/>
              <c:tx>
                <c:rich>
                  <a:bodyPr/>
                  <a:lstStyle/>
                  <a:p>
                    <a:r>
                      <a:t>9.98</a:t>
                    </a:r>
                  </a:p>
                </c:rich>
              </c:tx>
              <c:dLblPos val="t"/>
              <c:showLegendKey val="0"/>
              <c:showVal val="1"/>
              <c:showCatName val="0"/>
              <c:showSerName val="0"/>
              <c:showPercent val="0"/>
              <c:showBubbleSize val="0"/>
            </c:dLbl>
            <c:dLbl>
              <c:idx val="8"/>
              <c:tx>
                <c:rich>
                  <a:bodyPr/>
                  <a:lstStyle/>
                  <a:p>
                    <a:r>
                      <a:t>14.73</a:t>
                    </a:r>
                  </a:p>
                </c:rich>
              </c:tx>
              <c:dLblPos val="t"/>
              <c:showLegendKey val="0"/>
              <c:showVal val="1"/>
              <c:showCatName val="0"/>
              <c:showSerName val="0"/>
              <c:showPercent val="0"/>
              <c:showBubbleSize val="0"/>
            </c:dLbl>
            <c:dLbl>
              <c:idx val="9"/>
              <c:tx>
                <c:rich>
                  <a:bodyPr/>
                  <a:lstStyle/>
                  <a:p>
                    <a:r>
                      <a:t>9.96</a:t>
                    </a:r>
                  </a:p>
                </c:rich>
              </c:tx>
              <c:dLblPos val="t"/>
              <c:showLegendKey val="0"/>
              <c:showVal val="1"/>
              <c:showCatName val="0"/>
              <c:showSerName val="0"/>
              <c:showPercent val="0"/>
              <c:showBubbleSize val="0"/>
            </c:dLbl>
            <c:dLbl>
              <c:idx val="10"/>
              <c:tx>
                <c:rich>
                  <a:bodyPr/>
                  <a:lstStyle/>
                  <a:p>
                    <a:r>
                      <a:t>26.51</a:t>
                    </a:r>
                  </a:p>
                </c:rich>
              </c:tx>
              <c:dLblPos val="t"/>
              <c:showLegendKey val="0"/>
              <c:showVal val="1"/>
              <c:showCatName val="0"/>
              <c:showSerName val="0"/>
              <c:showPercent val="0"/>
              <c:showBubbleSize val="0"/>
            </c:dLbl>
            <c:dLbl>
              <c:idx val="11"/>
              <c:tx>
                <c:rich>
                  <a:bodyPr/>
                  <a:lstStyle/>
                  <a:p>
                    <a:r>
                      <a:t>9.53</a:t>
                    </a:r>
                  </a:p>
                </c:rich>
              </c:tx>
              <c:dLblPos val="t"/>
              <c:showLegendKey val="0"/>
              <c:showVal val="1"/>
              <c:showCatName val="0"/>
              <c:showSerName val="0"/>
              <c:showPercent val="0"/>
              <c:showBubbleSize val="0"/>
            </c:dLbl>
            <c:dLbl>
              <c:idx val="12"/>
              <c:tx>
                <c:rich>
                  <a:bodyPr/>
                  <a:lstStyle/>
                  <a:p>
                    <a:r>
                      <a:t>9.99</a:t>
                    </a:r>
                  </a:p>
                </c:rich>
              </c:tx>
              <c:dLblPos val="t"/>
              <c:showLegendKey val="0"/>
              <c:showVal val="1"/>
              <c:showCatName val="0"/>
              <c:showSerName val="0"/>
              <c:showPercent val="0"/>
              <c:showBubbleSize val="0"/>
            </c:dLbl>
            <c:dLbl>
              <c:idx val="13"/>
              <c:tx>
                <c:rich>
                  <a:bodyPr/>
                  <a:lstStyle/>
                  <a:p>
                    <a:r>
                      <a:t>9.9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SCHICK XTREME 2 SENSITIVE 2 BLADE DISPOSABLE NORMAL 12CT</c:v>
                </c:pt>
                <c:pt idx="1">
                  <c:v>SCHICK XTREME 3 SENSITIVE GREEN 3 BLADE DISPOSABLE SENSITIVE 8CT</c:v>
                </c:pt>
                <c:pt idx="2">
                  <c:v>SCHICK XTREME 3 SENSITIVE GREEN BLACK 3 BLADE DISPOSABLE SENSITIVE 8CT</c:v>
                </c:pt>
                <c:pt idx="3">
                  <c:v>SCHICK XTREME 3 SENSITIVE GREEN BLACK 3 BLADE DISPOSABLE SENSITIVE 4CT</c:v>
                </c:pt>
                <c:pt idx="4">
                  <c:v>SCHICK XTREME 3 SENSITIVE GREEN BLACK 3 BLADE DISPOSABLE SENSITIVE 12CT</c:v>
                </c:pt>
                <c:pt idx="5">
                  <c:v>SCHICK XTREME 3 SENSITIVE BLACK 3 BLADE DISPOSABLE SENSITIVE 4CT</c:v>
                </c:pt>
                <c:pt idx="6">
                  <c:v>SCHICK XTREME 3 SENSITIVE BLACK GREEN 3 BLADE DISPOSABLE SENSITIVE 12CT</c:v>
                </c:pt>
                <c:pt idx="7">
                  <c:v>SCHICK XTREME 3 SENSITIVE GREEN HOLIDAY GIFT PACK 3 BLADE DISPOSABLE SENSITIVE 8CT</c:v>
                </c:pt>
                <c:pt idx="8">
                  <c:v>HYDRO 5 SENSITIVE 5 BLADE REFILL SENSITIVE 6CT</c:v>
                </c:pt>
                <c:pt idx="9">
                  <c:v>HYDRO 5 SENSITIVE 5 BLADE RAZOR SENSITIVE 3CT</c:v>
                </c:pt>
                <c:pt idx="10">
                  <c:v>HYDRO 5 SENSITIVE 5 BLADE REFILL SENSITIVE 12CT</c:v>
                </c:pt>
                <c:pt idx="11">
                  <c:v>SCHICK HYDRO 3 SENSITIVE 3 BLADE REFILL SENSITIVE 5CT</c:v>
                </c:pt>
                <c:pt idx="12">
                  <c:v>HYDRO 5 SENSITIVE GRAY HOLIDAY GIFT PACK 5 BLADE RAZOR SENSITIVE 3CT</c:v>
                </c:pt>
                <c:pt idx="13">
                  <c:v>SCHICK HYDRO 3 SENSITIVE 3 BLADE RAZOR SENSITIVE 4CT</c:v>
                </c:pt>
              </c:strCache>
            </c:strRef>
          </c:cat>
          <c:val>
            <c:numRef>
              <c:f>Sheet1!$B$2:$B$15</c:f>
              <c:numCache>
                <c:formatCode>General</c:formatCode>
                <c:ptCount val="14"/>
                <c:pt idx="0">
                  <c:v>6.5</c:v>
                </c:pt>
                <c:pt idx="1">
                  <c:v>11.02</c:v>
                </c:pt>
                <c:pt idx="2">
                  <c:v>11.02</c:v>
                </c:pt>
                <c:pt idx="3">
                  <c:v>6.53</c:v>
                </c:pt>
                <c:pt idx="4">
                  <c:v>15.1</c:v>
                </c:pt>
                <c:pt idx="5">
                  <c:v>6.49</c:v>
                </c:pt>
                <c:pt idx="6">
                  <c:v>15.04</c:v>
                </c:pt>
                <c:pt idx="7">
                  <c:v>9.98</c:v>
                </c:pt>
                <c:pt idx="8">
                  <c:v>14.73</c:v>
                </c:pt>
                <c:pt idx="9">
                  <c:v>9.96</c:v>
                </c:pt>
                <c:pt idx="10">
                  <c:v>26.51</c:v>
                </c:pt>
                <c:pt idx="11">
                  <c:v>9.53</c:v>
                </c:pt>
                <c:pt idx="12">
                  <c:v>9.99</c:v>
                </c:pt>
                <c:pt idx="13">
                  <c:v>9.9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5</a:t>
                    </a:r>
                  </a:p>
                </c:rich>
              </c:tx>
              <c:dLblPos val="t"/>
              <c:showLegendKey val="0"/>
              <c:showVal val="1"/>
              <c:showCatName val="0"/>
              <c:showSerName val="0"/>
              <c:showPercent val="0"/>
              <c:showBubbleSize val="0"/>
            </c:dLbl>
            <c:dLbl>
              <c:idx val="1"/>
              <c:tx>
                <c:rich>
                  <a:bodyPr/>
                  <a:lstStyle/>
                  <a:p>
                    <a:r>
                      <a:t>11.01</a:t>
                    </a:r>
                  </a:p>
                </c:rich>
              </c:tx>
              <c:dLblPos val="t"/>
              <c:showLegendKey val="0"/>
              <c:showVal val="1"/>
              <c:showCatName val="0"/>
              <c:showSerName val="0"/>
              <c:showPercent val="0"/>
              <c:showBubbleSize val="0"/>
            </c:dLbl>
            <c:dLbl>
              <c:idx val="2"/>
              <c:tx>
                <c:rich>
                  <a:bodyPr/>
                  <a:lstStyle/>
                  <a:p>
                    <a:r>
                      <a:t>6.5</a:t>
                    </a:r>
                  </a:p>
                </c:rich>
              </c:tx>
              <c:dLblPos val="t"/>
              <c:showLegendKey val="0"/>
              <c:showVal val="1"/>
              <c:showCatName val="0"/>
              <c:showSerName val="0"/>
              <c:showPercent val="0"/>
              <c:showBubbleSize val="0"/>
            </c:dLbl>
            <c:dLbl>
              <c:idx val="3"/>
              <c:tx>
                <c:rich>
                  <a:bodyPr/>
                  <a:lstStyle/>
                  <a:p>
                    <a:r>
                      <a:t>15.03</a:t>
                    </a:r>
                  </a:p>
                </c:rich>
              </c:tx>
              <c:dLblPos val="t"/>
              <c:showLegendKey val="0"/>
              <c:showVal val="1"/>
              <c:showCatName val="0"/>
              <c:showSerName val="0"/>
              <c:showPercent val="0"/>
              <c:showBubbleSize val="0"/>
            </c:dLbl>
            <c:dLbl>
              <c:idx val="4"/>
              <c:tx>
                <c:rich>
                  <a:bodyPr/>
                  <a:lstStyle/>
                  <a:p>
                    <a:r>
                      <a:t>10.0</a:t>
                    </a:r>
                  </a:p>
                </c:rich>
              </c:tx>
              <c:dLblPos val="t"/>
              <c:showLegendKey val="0"/>
              <c:showVal val="1"/>
              <c:showCatName val="0"/>
              <c:showSerName val="0"/>
              <c:showPercent val="0"/>
              <c:showBubbleSize val="0"/>
            </c:dLbl>
            <c:dLbl>
              <c:idx val="5"/>
              <c:tx>
                <c:rich>
                  <a:bodyPr/>
                  <a:lstStyle/>
                  <a:p>
                    <a:r>
                      <a:t>11.02</a:t>
                    </a:r>
                  </a:p>
                </c:rich>
              </c:tx>
              <c:dLblPos val="t"/>
              <c:showLegendKey val="0"/>
              <c:showVal val="1"/>
              <c:showCatName val="0"/>
              <c:showSerName val="0"/>
              <c:showPercent val="0"/>
              <c:showBubbleSize val="0"/>
            </c:dLbl>
            <c:dLbl>
              <c:idx val="6"/>
              <c:tx>
                <c:rich>
                  <a:bodyPr/>
                  <a:lstStyle/>
                  <a:p>
                    <a:r>
                      <a:t>6.53</a:t>
                    </a:r>
                  </a:p>
                </c:rich>
              </c:tx>
              <c:dLblPos val="t"/>
              <c:showLegendKey val="0"/>
              <c:showVal val="1"/>
              <c:showCatName val="0"/>
              <c:showSerName val="0"/>
              <c:showPercent val="0"/>
              <c:showBubbleSize val="0"/>
            </c:dLbl>
            <c:dLbl>
              <c:idx val="7"/>
              <c:tx>
                <c:rich>
                  <a:bodyPr/>
                  <a:lstStyle/>
                  <a:p>
                    <a:r>
                      <a:t>15.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SCHICK XTREME 2 SENSITIVE 2 BLADE DISPOSABLE NORMAL 12CT</c:v>
                </c:pt>
                <c:pt idx="1">
                  <c:v>SCHICK XTREME 3 SENSITIVE GREEN 3 BLADE DISPOSABLE SENSITIVE 8CT</c:v>
                </c:pt>
                <c:pt idx="2">
                  <c:v>SCHICK XTREME 3 SENSITIVE BLACK 3 BLADE DISPOSABLE SENSITIVE 4CT</c:v>
                </c:pt>
                <c:pt idx="3">
                  <c:v>SCHICK XTREME 3 SENSITIVE BLACK GREEN 3 BLADE DISPOSABLE SENSITIVE 12CT</c:v>
                </c:pt>
                <c:pt idx="4">
                  <c:v>SCHICK XTREME 3 SENSITIVE GREEN HOLIDAY GIFT PACK 3 BLADE DISPOSABLE SENSITIVE 8CT</c:v>
                </c:pt>
                <c:pt idx="5">
                  <c:v>SCHICK XTREME 3 SENSITIVE GREEN BLACK 3 BLADE DISPOSABLE SENSITIVE 8CT</c:v>
                </c:pt>
                <c:pt idx="6">
                  <c:v>SCHICK XTREME 3 SENSITIVE GREEN BLACK 3 BLADE DISPOSABLE SENSITIVE 4CT</c:v>
                </c:pt>
                <c:pt idx="7">
                  <c:v>SCHICK XTREME 3 SENSITIVE GREEN BLACK 3 BLADE DISPOSABLE SENSITIVE 12CT</c:v>
                </c:pt>
              </c:strCache>
            </c:strRef>
          </c:cat>
          <c:val>
            <c:numRef>
              <c:f>Sheet1!$B$2:$B$9</c:f>
              <c:numCache>
                <c:formatCode>General</c:formatCode>
                <c:ptCount val="8"/>
                <c:pt idx="0">
                  <c:v>6.5</c:v>
                </c:pt>
                <c:pt idx="1">
                  <c:v>11.01</c:v>
                </c:pt>
                <c:pt idx="2">
                  <c:v>6.5</c:v>
                </c:pt>
                <c:pt idx="3">
                  <c:v>15.03</c:v>
                </c:pt>
                <c:pt idx="4">
                  <c:v>10.0</c:v>
                </c:pt>
                <c:pt idx="5">
                  <c:v>11.02</c:v>
                </c:pt>
                <c:pt idx="6">
                  <c:v>6.53</c:v>
                </c:pt>
                <c:pt idx="7">
                  <c:v>15.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09</a:t>
                    </a:r>
                  </a:p>
                </c:rich>
              </c:tx>
              <c:showLegendKey val="0"/>
              <c:showVal val="1"/>
              <c:showCatName val="0"/>
              <c:showSerName val="0"/>
              <c:showPercent val="0"/>
              <c:showBubbleSize val="0"/>
            </c:dLbl>
            <c:dLbl>
              <c:idx val="1"/>
              <c:tx>
                <c:rich>
                  <a:bodyPr/>
                  <a:lstStyle/>
                  <a:p>
                    <a:r>
                      <a:t>15.22</a:t>
                    </a:r>
                  </a:p>
                </c:rich>
              </c:tx>
              <c:showLegendKey val="0"/>
              <c:showVal val="1"/>
              <c:showCatName val="0"/>
              <c:showSerName val="0"/>
              <c:showPercent val="0"/>
              <c:showBubbleSize val="0"/>
            </c:dLbl>
            <c:dLbl>
              <c:idx val="2"/>
              <c:tx>
                <c:rich>
                  <a:bodyPr/>
                  <a:lstStyle/>
                  <a:p>
                    <a:r>
                      <a:t>7.29</a:t>
                    </a:r>
                  </a:p>
                </c:rich>
              </c:tx>
              <c:showLegendKey val="0"/>
              <c:showVal val="1"/>
              <c:showCatName val="0"/>
              <c:showSerName val="0"/>
              <c:showPercent val="0"/>
              <c:showBubbleSize val="0"/>
            </c:dLbl>
            <c:dLbl>
              <c:idx val="3"/>
              <c:tx>
                <c:rich>
                  <a:bodyPr/>
                  <a:lstStyle/>
                  <a:p>
                    <a:r>
                      <a:t>10.59</a:t>
                    </a:r>
                  </a:p>
                </c:rich>
              </c:tx>
              <c:showLegendKey val="0"/>
              <c:showVal val="1"/>
              <c:showCatName val="0"/>
              <c:showSerName val="0"/>
              <c:showPercent val="0"/>
              <c:showBubbleSize val="0"/>
            </c:dLbl>
            <c:dLbl>
              <c:idx val="4"/>
              <c:tx>
                <c:rich>
                  <a:bodyPr/>
                  <a:lstStyle/>
                  <a:p>
                    <a:r>
                      <a:t>7.27</a:t>
                    </a:r>
                  </a:p>
                </c:rich>
              </c:tx>
              <c:showLegendKey val="0"/>
              <c:showVal val="1"/>
              <c:showCatName val="0"/>
              <c:showSerName val="0"/>
              <c:showPercent val="0"/>
              <c:showBubbleSize val="0"/>
            </c:dLbl>
            <c:dLbl>
              <c:idx val="5"/>
              <c:tx>
                <c:rich>
                  <a:bodyPr/>
                  <a:lstStyle/>
                  <a:p>
                    <a:r>
                      <a:t>6.93</a:t>
                    </a:r>
                  </a:p>
                </c:rich>
              </c:tx>
              <c:showLegendKey val="0"/>
              <c:showVal val="1"/>
              <c:showCatName val="0"/>
              <c:showSerName val="0"/>
              <c:showPercent val="0"/>
              <c:showBubbleSize val="0"/>
            </c:dLbl>
            <c:dLbl>
              <c:idx val="6"/>
              <c:tx>
                <c:rich>
                  <a:bodyPr/>
                  <a:lstStyle/>
                  <a:p>
                    <a:r>
                      <a:t>7.11</a:t>
                    </a:r>
                  </a:p>
                </c:rich>
              </c:tx>
              <c:showLegendKey val="0"/>
              <c:showVal val="1"/>
              <c:showCatName val="0"/>
              <c:showSerName val="0"/>
              <c:showPercent val="0"/>
              <c:showBubbleSize val="0"/>
            </c:dLbl>
            <c:dLbl>
              <c:idx val="7"/>
              <c:tx>
                <c:rich>
                  <a:bodyPr/>
                  <a:lstStyle/>
                  <a:p>
                    <a:r>
                      <a:t>7.15</a:t>
                    </a:r>
                  </a:p>
                </c:rich>
              </c:tx>
              <c:showLegendKey val="0"/>
              <c:showVal val="1"/>
              <c:showCatName val="0"/>
              <c:showSerName val="0"/>
              <c:showPercent val="0"/>
              <c:showBubbleSize val="0"/>
            </c:dLbl>
            <c:dLbl>
              <c:idx val="8"/>
              <c:tx>
                <c:rich>
                  <a:bodyPr/>
                  <a:lstStyle/>
                  <a:p>
                    <a:r>
                      <a:t>3.77</a:t>
                    </a:r>
                  </a:p>
                </c:rich>
              </c:tx>
              <c:showLegendKey val="0"/>
              <c:showVal val="1"/>
              <c:showCatName val="0"/>
              <c:showSerName val="0"/>
              <c:showPercent val="0"/>
              <c:showBubbleSize val="0"/>
            </c:dLbl>
            <c:dLbl>
              <c:idx val="9"/>
              <c:tx>
                <c:rich>
                  <a:bodyPr/>
                  <a:lstStyle/>
                  <a:p>
                    <a:r>
                      <a:t>13.0</a:t>
                    </a:r>
                  </a:p>
                </c:rich>
              </c:tx>
              <c:showLegendKey val="0"/>
              <c:showVal val="1"/>
              <c:showCatName val="0"/>
              <c:showSerName val="0"/>
              <c:showPercent val="0"/>
              <c:showBubbleSize val="0"/>
            </c:dLbl>
            <c:dLbl>
              <c:idx val="10"/>
              <c:tx>
                <c:rich>
                  <a:bodyPr/>
                  <a:lstStyle/>
                  <a:p>
                    <a:r>
                      <a:t>10.19</a:t>
                    </a:r>
                  </a:p>
                </c:rich>
              </c:tx>
              <c:showLegendKey val="0"/>
              <c:showVal val="1"/>
              <c:showCatName val="0"/>
              <c:showSerName val="0"/>
              <c:showPercent val="0"/>
              <c:showBubbleSize val="0"/>
            </c:dLbl>
            <c:dLbl>
              <c:idx val="11"/>
              <c:tx>
                <c:rich>
                  <a:bodyPr/>
                  <a:lstStyle/>
                  <a:p>
                    <a:r>
                      <a:t>17.2</a:t>
                    </a:r>
                  </a:p>
                </c:rich>
              </c:tx>
              <c:showLegendKey val="0"/>
              <c:showVal val="1"/>
              <c:showCatName val="0"/>
              <c:showSerName val="0"/>
              <c:showPercent val="0"/>
              <c:showBubbleSize val="0"/>
            </c:dLbl>
            <c:dLbl>
              <c:idx val="12"/>
              <c:tx>
                <c:rich>
                  <a:bodyPr/>
                  <a:lstStyle/>
                  <a:p>
                    <a:r>
                      <a:t>24.64</a:t>
                    </a:r>
                  </a:p>
                </c:rich>
              </c:tx>
              <c:showLegendKey val="0"/>
              <c:showVal val="1"/>
              <c:showCatName val="0"/>
              <c:showSerName val="0"/>
              <c:showPercent val="0"/>
              <c:showBubbleSize val="0"/>
            </c:dLbl>
            <c:dLbl>
              <c:idx val="13"/>
              <c:tx>
                <c:rich>
                  <a:bodyPr/>
                  <a:lstStyle/>
                  <a:p>
                    <a:r>
                      <a:t>16.3</a:t>
                    </a:r>
                  </a:p>
                </c:rich>
              </c:tx>
              <c:showLegendKey val="0"/>
              <c:showVal val="1"/>
              <c:showCatName val="0"/>
              <c:showSerName val="0"/>
              <c:showPercent val="0"/>
              <c:showBubbleSize val="0"/>
            </c:dLbl>
            <c:dLbl>
              <c:idx val="14"/>
              <c:tx>
                <c:rich>
                  <a:bodyPr/>
                  <a:lstStyle/>
                  <a:p>
                    <a:r>
                      <a:t>18.77</a:t>
                    </a:r>
                  </a:p>
                </c:rich>
              </c:tx>
              <c:showLegendKey val="0"/>
              <c:showVal val="1"/>
              <c:showCatName val="0"/>
              <c:showSerName val="0"/>
              <c:showPercent val="0"/>
              <c:showBubbleSize val="0"/>
            </c:dLbl>
            <c:dLbl>
              <c:idx val="15"/>
              <c:tx>
                <c:rich>
                  <a:bodyPr/>
                  <a:lstStyle/>
                  <a:p>
                    <a:r>
                      <a:t>19.45</a:t>
                    </a:r>
                  </a:p>
                </c:rich>
              </c:tx>
              <c:showLegendKey val="0"/>
              <c:showVal val="1"/>
              <c:showCatName val="0"/>
              <c:showSerName val="0"/>
              <c:showPercent val="0"/>
              <c:showBubbleSize val="0"/>
            </c:dLbl>
            <c:dLbl>
              <c:idx val="16"/>
              <c:tx>
                <c:rich>
                  <a:bodyPr/>
                  <a:lstStyle/>
                  <a:p>
                    <a:r>
                      <a:t>42.25</a:t>
                    </a:r>
                  </a:p>
                </c:rich>
              </c:tx>
              <c:showLegendKey val="0"/>
              <c:showVal val="1"/>
              <c:showCatName val="0"/>
              <c:showSerName val="0"/>
              <c:showPercent val="0"/>
              <c:showBubbleSize val="0"/>
            </c:dLbl>
            <c:dLbl>
              <c:idx val="17"/>
              <c:tx>
                <c:rich>
                  <a:bodyPr/>
                  <a:lstStyle/>
                  <a:p>
                    <a:r>
                      <a:t>13.06</a:t>
                    </a:r>
                  </a:p>
                </c:rich>
              </c:tx>
              <c:showLegendKey val="0"/>
              <c:showVal val="1"/>
              <c:showCatName val="0"/>
              <c:showSerName val="0"/>
              <c:showPercent val="0"/>
              <c:showBubbleSize val="0"/>
            </c:dLbl>
            <c:dLbl>
              <c:idx val="18"/>
              <c:tx>
                <c:rich>
                  <a:bodyPr/>
                  <a:lstStyle/>
                  <a:p>
                    <a:r>
                      <a:t>32.12</a:t>
                    </a:r>
                  </a:p>
                </c:rich>
              </c:tx>
              <c:showLegendKey val="0"/>
              <c:showVal val="1"/>
              <c:showCatName val="0"/>
              <c:showSerName val="0"/>
              <c:showPercent val="0"/>
              <c:showBubbleSize val="0"/>
            </c:dLbl>
            <c:dLbl>
              <c:idx val="19"/>
              <c:tx>
                <c:rich>
                  <a:bodyPr/>
                  <a:lstStyle/>
                  <a:p>
                    <a:r>
                      <a:t>42.0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SCHICK XTREME 3 SENSITIVE BLACK GREEN 3 BLADE DISPOSABLE SENSITIVE 20CT</c:v>
                </c:pt>
                <c:pt idx="1">
                  <c:v>HYDRO 5 SENSITIVE 5 BLADE REFILL SENSITIVE 6CT</c:v>
                </c:pt>
                <c:pt idx="2">
                  <c:v>SCHICK XTREME 2 SENSITIVE 2 BLADE DISPOSABLE NORMAL 12CT</c:v>
                </c:pt>
                <c:pt idx="3">
                  <c:v>HYDRO 5 SENSITIVE 5 BLADE RAZOR SENSITIVE 3CT</c:v>
                </c:pt>
                <c:pt idx="4">
                  <c:v>SCHICK XTREME 3 SENSITIVE BLACK 3 BLADE DISPOSABLE SENSITIVE 4CT</c:v>
                </c:pt>
                <c:pt idx="5">
                  <c:v>BIC FLEX 4 4 BLADE DISPOSABLE SENSITIVE 3CT</c:v>
                </c:pt>
                <c:pt idx="6">
                  <c:v>BIC FLEX 5 HYBRID 5 BLADE HYBRID NORMAL 4CT</c:v>
                </c:pt>
                <c:pt idx="7">
                  <c:v>BIC FLEX 5 BLACK WHITE 5 BLADE DISPOSABLE NORMAL 2CT</c:v>
                </c:pt>
                <c:pt idx="8">
                  <c:v>BIC SINGLE SENSITIVE 1 BLADE DISPOSABLE SENSITIVE 12CT</c:v>
                </c:pt>
                <c:pt idx="9">
                  <c:v>BIC FLEX 5 HYBRID 5 BLADE HYBRID NORMAL 7CT</c:v>
                </c:pt>
                <c:pt idx="10">
                  <c:v>HARRY'S 5 BLADE REFILL NORMAL 4CT</c:v>
                </c:pt>
                <c:pt idx="11">
                  <c:v>HARRY'S 5 BLADE REFILL NORMAL 8CT</c:v>
                </c:pt>
                <c:pt idx="12">
                  <c:v>HARRY'S 5 BLADE REFILL NORMAL 12CT</c:v>
                </c:pt>
                <c:pt idx="13">
                  <c:v>HARRY'S ORANGE 5 BLADE RAZOR NORMAL 5CT</c:v>
                </c:pt>
                <c:pt idx="14">
                  <c:v>HARRY'S SILVER 5 BLADE RAZOR NORMAL 5CT</c:v>
                </c:pt>
                <c:pt idx="15">
                  <c:v>GILLETTE FUSION 5 5 BLADE REFILL NORMAL 4CT</c:v>
                </c:pt>
                <c:pt idx="16">
                  <c:v>GILLETTE FUSION 5 5 BLADE REFILL NORMAL 16CT</c:v>
                </c:pt>
                <c:pt idx="17">
                  <c:v>GILLETTE MACH 3 3 BLADE REFILL NORMAL 4CT</c:v>
                </c:pt>
                <c:pt idx="18">
                  <c:v>GILLETTE FUSION 5 5 BLADE REFILL NORMAL 8CT</c:v>
                </c:pt>
                <c:pt idx="19">
                  <c:v>GILLETTE FUSION 5 5 BLADE REFILL NORMAL 12CT</c:v>
                </c:pt>
              </c:strCache>
            </c:strRef>
          </c:cat>
          <c:val>
            <c:numRef>
              <c:f>Sheet1!$B$2:$B$21</c:f>
              <c:numCache>
                <c:formatCode>General</c:formatCode>
                <c:ptCount val="20"/>
                <c:pt idx="0">
                  <c:v>20.09</c:v>
                </c:pt>
                <c:pt idx="1">
                  <c:v>15.22</c:v>
                </c:pt>
                <c:pt idx="2">
                  <c:v>7.29</c:v>
                </c:pt>
                <c:pt idx="3">
                  <c:v>10.59</c:v>
                </c:pt>
                <c:pt idx="4">
                  <c:v>7.27</c:v>
                </c:pt>
                <c:pt idx="5">
                  <c:v>6.93</c:v>
                </c:pt>
                <c:pt idx="6">
                  <c:v>7.11</c:v>
                </c:pt>
                <c:pt idx="7">
                  <c:v>7.15</c:v>
                </c:pt>
                <c:pt idx="8">
                  <c:v>3.77</c:v>
                </c:pt>
                <c:pt idx="9">
                  <c:v>13.0</c:v>
                </c:pt>
                <c:pt idx="10">
                  <c:v>10.19</c:v>
                </c:pt>
                <c:pt idx="11">
                  <c:v>17.2</c:v>
                </c:pt>
                <c:pt idx="12">
                  <c:v>24.64</c:v>
                </c:pt>
                <c:pt idx="13">
                  <c:v>16.3</c:v>
                </c:pt>
                <c:pt idx="14">
                  <c:v>18.77</c:v>
                </c:pt>
                <c:pt idx="15">
                  <c:v>19.45</c:v>
                </c:pt>
                <c:pt idx="16">
                  <c:v>42.25</c:v>
                </c:pt>
                <c:pt idx="17">
                  <c:v>13.06</c:v>
                </c:pt>
                <c:pt idx="18">
                  <c:v>32.12</c:v>
                </c:pt>
                <c:pt idx="19">
                  <c:v>42.0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1</a:t>
                    </a:r>
                  </a:p>
                </c:rich>
              </c:tx>
              <c:showLegendKey val="0"/>
              <c:showVal val="1"/>
              <c:showCatName val="0"/>
              <c:showSerName val="0"/>
              <c:showPercent val="0"/>
              <c:showBubbleSize val="0"/>
            </c:dLbl>
            <c:dLbl>
              <c:idx val="1"/>
              <c:tx>
                <c:rich>
                  <a:bodyPr/>
                  <a:lstStyle/>
                  <a:p>
                    <a:r>
                      <a:t>24.71</a:t>
                    </a:r>
                  </a:p>
                </c:rich>
              </c:tx>
              <c:showLegendKey val="0"/>
              <c:showVal val="1"/>
              <c:showCatName val="0"/>
              <c:showSerName val="0"/>
              <c:showPercent val="0"/>
              <c:showBubbleSize val="0"/>
            </c:dLbl>
            <c:dLbl>
              <c:idx val="2"/>
              <c:tx>
                <c:rich>
                  <a:bodyPr/>
                  <a:lstStyle/>
                  <a:p>
                    <a:r>
                      <a:t>42.27</a:t>
                    </a:r>
                  </a:p>
                </c:rich>
              </c:tx>
              <c:showLegendKey val="0"/>
              <c:showVal val="1"/>
              <c:showCatName val="0"/>
              <c:showSerName val="0"/>
              <c:showPercent val="0"/>
              <c:showBubbleSize val="0"/>
            </c:dLbl>
            <c:dLbl>
              <c:idx val="3"/>
              <c:tx>
                <c:rich>
                  <a:bodyPr/>
                  <a:lstStyle/>
                  <a:p>
                    <a:r>
                      <a:t>39.57</a:t>
                    </a:r>
                  </a:p>
                </c:rich>
              </c:tx>
              <c:showLegendKey val="0"/>
              <c:showVal val="1"/>
              <c:showCatName val="0"/>
              <c:showSerName val="0"/>
              <c:showPercent val="0"/>
              <c:showBubbleSize val="0"/>
            </c:dLbl>
            <c:dLbl>
              <c:idx val="4"/>
              <c:tx>
                <c:rich>
                  <a:bodyPr/>
                  <a:lstStyle/>
                  <a:p>
                    <a:r>
                      <a:t>33.57</a:t>
                    </a:r>
                  </a:p>
                </c:rich>
              </c:tx>
              <c:showLegendKey val="0"/>
              <c:showVal val="1"/>
              <c:showCatName val="0"/>
              <c:showSerName val="0"/>
              <c:showPercent val="0"/>
              <c:showBubbleSize val="0"/>
            </c:dLbl>
            <c:dLbl>
              <c:idx val="5"/>
              <c:tx>
                <c:rich>
                  <a:bodyPr/>
                  <a:lstStyle/>
                  <a:p>
                    <a:r>
                      <a:t>46.81</a:t>
                    </a:r>
                  </a:p>
                </c:rich>
              </c:tx>
              <c:showLegendKey val="0"/>
              <c:showVal val="1"/>
              <c:showCatName val="0"/>
              <c:showSerName val="0"/>
              <c:showPercent val="0"/>
              <c:showBubbleSize val="0"/>
            </c:dLbl>
            <c:dLbl>
              <c:idx val="6"/>
              <c:tx>
                <c:rich>
                  <a:bodyPr/>
                  <a:lstStyle/>
                  <a:p>
                    <a:r>
                      <a:t>32.1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SCHICK XTREME 3 SENSITIVE BLACK GREEN 3 BLADE DISPOSABLE SENSITIVE 20CT</c:v>
                </c:pt>
                <c:pt idx="1">
                  <c:v>SCHICK XTREME 3 SENSITIVE BLACK 3 BLADE DISPOSABLE SENSITIVE 20CT</c:v>
                </c:pt>
                <c:pt idx="2">
                  <c:v>GILLETTE FUSION 5 5 BLADE REFILL NORMAL 16CT</c:v>
                </c:pt>
                <c:pt idx="3">
                  <c:v>GILLETTE MACH 3 3 BLADE REFILL NORMAL 20CT</c:v>
                </c:pt>
                <c:pt idx="4">
                  <c:v>GILLETTE SENSOR 2 PLUS PIVOT 2 BLADE DISPOSABLE NORMAL 52CT</c:v>
                </c:pt>
                <c:pt idx="5">
                  <c:v>GILLETTE FUSION 5 PROGLIDE 5 BLADE RAZOR NORMAL 13CT</c:v>
                </c:pt>
                <c:pt idx="6">
                  <c:v>GILLETTE FUSION 5 5 BLADE RAZOR NORMAL 9CT</c:v>
                </c:pt>
              </c:strCache>
            </c:strRef>
          </c:cat>
          <c:val>
            <c:numRef>
              <c:f>Sheet1!$B$2:$B$8</c:f>
              <c:numCache>
                <c:formatCode>General</c:formatCode>
                <c:ptCount val="7"/>
                <c:pt idx="0">
                  <c:v>20.1</c:v>
                </c:pt>
                <c:pt idx="1">
                  <c:v>24.71</c:v>
                </c:pt>
                <c:pt idx="2">
                  <c:v>42.27</c:v>
                </c:pt>
                <c:pt idx="3">
                  <c:v>39.57</c:v>
                </c:pt>
                <c:pt idx="4">
                  <c:v>33.57</c:v>
                </c:pt>
                <c:pt idx="5">
                  <c:v>46.81</c:v>
                </c:pt>
                <c:pt idx="6">
                  <c:v>32.1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73</a:t>
                    </a:r>
                  </a:p>
                </c:rich>
              </c:tx>
              <c:showLegendKey val="0"/>
              <c:showVal val="1"/>
              <c:showCatName val="0"/>
              <c:showSerName val="0"/>
              <c:showPercent val="0"/>
              <c:showBubbleSize val="0"/>
            </c:dLbl>
            <c:dLbl>
              <c:idx val="1"/>
              <c:tx>
                <c:rich>
                  <a:bodyPr/>
                  <a:lstStyle/>
                  <a:p>
                    <a:r>
                      <a:t>6.5</a:t>
                    </a:r>
                  </a:p>
                </c:rich>
              </c:tx>
              <c:showLegendKey val="0"/>
              <c:showVal val="1"/>
              <c:showCatName val="0"/>
              <c:showSerName val="0"/>
              <c:showPercent val="0"/>
              <c:showBubbleSize val="0"/>
            </c:dLbl>
            <c:dLbl>
              <c:idx val="2"/>
              <c:tx>
                <c:rich>
                  <a:bodyPr/>
                  <a:lstStyle/>
                  <a:p>
                    <a:r>
                      <a:t>9.96</a:t>
                    </a:r>
                  </a:p>
                </c:rich>
              </c:tx>
              <c:showLegendKey val="0"/>
              <c:showVal val="1"/>
              <c:showCatName val="0"/>
              <c:showSerName val="0"/>
              <c:showPercent val="0"/>
              <c:showBubbleSize val="0"/>
            </c:dLbl>
            <c:dLbl>
              <c:idx val="3"/>
              <c:tx>
                <c:rich>
                  <a:bodyPr/>
                  <a:lstStyle/>
                  <a:p>
                    <a:r>
                      <a:t>26.51</a:t>
                    </a:r>
                  </a:p>
                </c:rich>
              </c:tx>
              <c:showLegendKey val="0"/>
              <c:showVal val="1"/>
              <c:showCatName val="0"/>
              <c:showSerName val="0"/>
              <c:showPercent val="0"/>
              <c:showBubbleSize val="0"/>
            </c:dLbl>
            <c:dLbl>
              <c:idx val="4"/>
              <c:tx>
                <c:rich>
                  <a:bodyPr/>
                  <a:lstStyle/>
                  <a:p>
                    <a:r>
                      <a:t>11.02</a:t>
                    </a:r>
                  </a:p>
                </c:rich>
              </c:tx>
              <c:showLegendKey val="0"/>
              <c:showVal val="1"/>
              <c:showCatName val="0"/>
              <c:showSerName val="0"/>
              <c:showPercent val="0"/>
              <c:showBubbleSize val="0"/>
            </c:dLbl>
            <c:dLbl>
              <c:idx val="5"/>
              <c:tx>
                <c:rich>
                  <a:bodyPr/>
                  <a:lstStyle/>
                  <a:p>
                    <a:r>
                      <a:t>6.92</a:t>
                    </a:r>
                  </a:p>
                </c:rich>
              </c:tx>
              <c:showLegendKey val="0"/>
              <c:showVal val="1"/>
              <c:showCatName val="0"/>
              <c:showSerName val="0"/>
              <c:showPercent val="0"/>
              <c:showBubbleSize val="0"/>
            </c:dLbl>
            <c:dLbl>
              <c:idx val="6"/>
              <c:tx>
                <c:rich>
                  <a:bodyPr/>
                  <a:lstStyle/>
                  <a:p>
                    <a:r>
                      <a:t>3.43</a:t>
                    </a:r>
                  </a:p>
                </c:rich>
              </c:tx>
              <c:showLegendKey val="0"/>
              <c:showVal val="1"/>
              <c:showCatName val="0"/>
              <c:showSerName val="0"/>
              <c:showPercent val="0"/>
              <c:showBubbleSize val="0"/>
            </c:dLbl>
            <c:dLbl>
              <c:idx val="7"/>
              <c:tx>
                <c:rich>
                  <a:bodyPr/>
                  <a:lstStyle/>
                  <a:p>
                    <a:r>
                      <a:t>12.82</a:t>
                    </a:r>
                  </a:p>
                </c:rich>
              </c:tx>
              <c:showLegendKey val="0"/>
              <c:showVal val="1"/>
              <c:showCatName val="0"/>
              <c:showSerName val="0"/>
              <c:showPercent val="0"/>
              <c:showBubbleSize val="0"/>
            </c:dLbl>
            <c:dLbl>
              <c:idx val="8"/>
              <c:tx>
                <c:rich>
                  <a:bodyPr/>
                  <a:lstStyle/>
                  <a:p>
                    <a:r>
                      <a:t>19.98</a:t>
                    </a:r>
                  </a:p>
                </c:rich>
              </c:tx>
              <c:showLegendKey val="0"/>
              <c:showVal val="1"/>
              <c:showCatName val="0"/>
              <c:showSerName val="0"/>
              <c:showPercent val="0"/>
              <c:showBubbleSize val="0"/>
            </c:dLbl>
            <c:dLbl>
              <c:idx val="9"/>
              <c:tx>
                <c:rich>
                  <a:bodyPr/>
                  <a:lstStyle/>
                  <a:p>
                    <a:r>
                      <a:t>6.94</a:t>
                    </a:r>
                  </a:p>
                </c:rich>
              </c:tx>
              <c:showLegendKey val="0"/>
              <c:showVal val="1"/>
              <c:showCatName val="0"/>
              <c:showSerName val="0"/>
              <c:showPercent val="0"/>
              <c:showBubbleSize val="0"/>
            </c:dLbl>
            <c:dLbl>
              <c:idx val="10"/>
              <c:tx>
                <c:rich>
                  <a:bodyPr/>
                  <a:lstStyle/>
                  <a:p>
                    <a:r>
                      <a:t>9.97</a:t>
                    </a:r>
                  </a:p>
                </c:rich>
              </c:tx>
              <c:showLegendKey val="0"/>
              <c:showVal val="1"/>
              <c:showCatName val="0"/>
              <c:showSerName val="0"/>
              <c:showPercent val="0"/>
              <c:showBubbleSize val="0"/>
            </c:dLbl>
            <c:dLbl>
              <c:idx val="11"/>
              <c:tx>
                <c:rich>
                  <a:bodyPr/>
                  <a:lstStyle/>
                  <a:p>
                    <a:r>
                      <a:t>16.96</a:t>
                    </a:r>
                  </a:p>
                </c:rich>
              </c:tx>
              <c:showLegendKey val="0"/>
              <c:showVal val="1"/>
              <c:showCatName val="0"/>
              <c:showSerName val="0"/>
              <c:showPercent val="0"/>
              <c:showBubbleSize val="0"/>
            </c:dLbl>
            <c:dLbl>
              <c:idx val="12"/>
              <c:tx>
                <c:rich>
                  <a:bodyPr/>
                  <a:lstStyle/>
                  <a:p>
                    <a:r>
                      <a:t>23.97</a:t>
                    </a:r>
                  </a:p>
                </c:rich>
              </c:tx>
              <c:showLegendKey val="0"/>
              <c:showVal val="1"/>
              <c:showCatName val="0"/>
              <c:showSerName val="0"/>
              <c:showPercent val="0"/>
              <c:showBubbleSize val="0"/>
            </c:dLbl>
            <c:dLbl>
              <c:idx val="13"/>
              <c:tx>
                <c:rich>
                  <a:bodyPr/>
                  <a:lstStyle/>
                  <a:p>
                    <a:r>
                      <a:t>16.01</a:t>
                    </a:r>
                  </a:p>
                </c:rich>
              </c:tx>
              <c:showLegendKey val="0"/>
              <c:showVal val="1"/>
              <c:showCatName val="0"/>
              <c:showSerName val="0"/>
              <c:showPercent val="0"/>
              <c:showBubbleSize val="0"/>
            </c:dLbl>
            <c:dLbl>
              <c:idx val="14"/>
              <c:tx>
                <c:rich>
                  <a:bodyPr/>
                  <a:lstStyle/>
                  <a:p>
                    <a:r>
                      <a:t>9.99</a:t>
                    </a:r>
                  </a:p>
                </c:rich>
              </c:tx>
              <c:showLegendKey val="0"/>
              <c:showVal val="1"/>
              <c:showCatName val="0"/>
              <c:showSerName val="0"/>
              <c:showPercent val="0"/>
              <c:showBubbleSize val="0"/>
            </c:dLbl>
            <c:dLbl>
              <c:idx val="15"/>
              <c:tx>
                <c:rich>
                  <a:bodyPr/>
                  <a:lstStyle/>
                  <a:p>
                    <a:r>
                      <a:t>18.42</a:t>
                    </a:r>
                  </a:p>
                </c:rich>
              </c:tx>
              <c:showLegendKey val="0"/>
              <c:showVal val="1"/>
              <c:showCatName val="0"/>
              <c:showSerName val="0"/>
              <c:showPercent val="0"/>
              <c:showBubbleSize val="0"/>
            </c:dLbl>
            <c:dLbl>
              <c:idx val="16"/>
              <c:tx>
                <c:rich>
                  <a:bodyPr/>
                  <a:lstStyle/>
                  <a:p>
                    <a:r>
                      <a:t>12.46</a:t>
                    </a:r>
                  </a:p>
                </c:rich>
              </c:tx>
              <c:showLegendKey val="0"/>
              <c:showVal val="1"/>
              <c:showCatName val="0"/>
              <c:showSerName val="0"/>
              <c:showPercent val="0"/>
              <c:showBubbleSize val="0"/>
            </c:dLbl>
            <c:dLbl>
              <c:idx val="17"/>
              <c:tx>
                <c:rich>
                  <a:bodyPr/>
                  <a:lstStyle/>
                  <a:p>
                    <a:r>
                      <a:t>40.1</a:t>
                    </a:r>
                  </a:p>
                </c:rich>
              </c:tx>
              <c:showLegendKey val="0"/>
              <c:showVal val="1"/>
              <c:showCatName val="0"/>
              <c:showSerName val="0"/>
              <c:showPercent val="0"/>
              <c:showBubbleSize val="0"/>
            </c:dLbl>
            <c:dLbl>
              <c:idx val="18"/>
              <c:tx>
                <c:rich>
                  <a:bodyPr/>
                  <a:lstStyle/>
                  <a:p>
                    <a:r>
                      <a:t>29.97</a:t>
                    </a:r>
                  </a:p>
                </c:rich>
              </c:tx>
              <c:showLegendKey val="0"/>
              <c:showVal val="1"/>
              <c:showCatName val="0"/>
              <c:showSerName val="0"/>
              <c:showPercent val="0"/>
              <c:showBubbleSize val="0"/>
            </c:dLbl>
            <c:dLbl>
              <c:idx val="19"/>
              <c:tx>
                <c:rich>
                  <a:bodyPr/>
                  <a:lstStyle/>
                  <a:p>
                    <a:r>
                      <a:t>23.8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HYDRO 5 SENSITIVE 5 BLADE REFILL SENSITIVE 6CT</c:v>
                </c:pt>
                <c:pt idx="1">
                  <c:v>SCHICK XTREME 2 SENSITIVE 2 BLADE DISPOSABLE NORMAL 12CT</c:v>
                </c:pt>
                <c:pt idx="2">
                  <c:v>HYDRO 5 SENSITIVE 5 BLADE RAZOR SENSITIVE 3CT</c:v>
                </c:pt>
                <c:pt idx="3">
                  <c:v>HYDRO 5 SENSITIVE 5 BLADE REFILL SENSITIVE 12CT</c:v>
                </c:pt>
                <c:pt idx="4">
                  <c:v>SCHICK XTREME 3 SENSITIVE GREEN 3 BLADE DISPOSABLE SENSITIVE 8CT</c:v>
                </c:pt>
                <c:pt idx="5">
                  <c:v>BIC FLEX 5 HYBRID 5 BLADE HYBRID NORMAL 4CT</c:v>
                </c:pt>
                <c:pt idx="6">
                  <c:v>BIC SINGLE SENSITIVE 1 BLADE DISPOSABLE SENSITIVE 12CT</c:v>
                </c:pt>
                <c:pt idx="7">
                  <c:v>BIC FLEX 5 HYBRID 5 BLADE HYBRID NORMAL 7CT</c:v>
                </c:pt>
                <c:pt idx="8">
                  <c:v>BIC FLEX 5 HYBRID 5 BLADE HYBRID NORMAL 12CT</c:v>
                </c:pt>
                <c:pt idx="9">
                  <c:v>BIC FLEX 5 BLACK WHITE 5 BLADE DISPOSABLE NORMAL 2CT</c:v>
                </c:pt>
                <c:pt idx="10">
                  <c:v>HARRY'S 5 BLADE REFILL NORMAL 4CT</c:v>
                </c:pt>
                <c:pt idx="11">
                  <c:v>HARRY'S 5 BLADE REFILL NORMAL 8CT</c:v>
                </c:pt>
                <c:pt idx="12">
                  <c:v>HARRY'S 5 BLADE REFILL NORMAL 12CT</c:v>
                </c:pt>
                <c:pt idx="13">
                  <c:v>HARRY'S ORANGE 5 BLADE RAZOR NORMAL 5CT</c:v>
                </c:pt>
                <c:pt idx="14">
                  <c:v>HARRY'S SURF BLUE 5 BLADE RAZOR NORMAL 2CT</c:v>
                </c:pt>
                <c:pt idx="15">
                  <c:v>GILLETTE FUSION 5 5 BLADE REFILL NORMAL 4CT</c:v>
                </c:pt>
                <c:pt idx="16">
                  <c:v>GILLETTE MACH 3 3 BLADE REFILL NORMAL 4CT</c:v>
                </c:pt>
                <c:pt idx="17">
                  <c:v>GILLETTE FUSION 5 5 BLADE REFILL NORMAL 12CT</c:v>
                </c:pt>
                <c:pt idx="18">
                  <c:v>GILLETTE FUSION 5 5 BLADE REFILL NORMAL 8CT</c:v>
                </c:pt>
                <c:pt idx="19">
                  <c:v>GILLETTE FUSION 5 5 BLADE RAZOR NORMAL 5CT</c:v>
                </c:pt>
              </c:strCache>
            </c:strRef>
          </c:cat>
          <c:val>
            <c:numRef>
              <c:f>Sheet1!$B$2:$B$21</c:f>
              <c:numCache>
                <c:formatCode>General</c:formatCode>
                <c:ptCount val="20"/>
                <c:pt idx="0">
                  <c:v>14.73</c:v>
                </c:pt>
                <c:pt idx="1">
                  <c:v>6.5</c:v>
                </c:pt>
                <c:pt idx="2">
                  <c:v>9.96</c:v>
                </c:pt>
                <c:pt idx="3">
                  <c:v>26.51</c:v>
                </c:pt>
                <c:pt idx="4">
                  <c:v>11.02</c:v>
                </c:pt>
                <c:pt idx="5">
                  <c:v>6.92</c:v>
                </c:pt>
                <c:pt idx="6">
                  <c:v>3.43</c:v>
                </c:pt>
                <c:pt idx="7">
                  <c:v>12.82</c:v>
                </c:pt>
                <c:pt idx="8">
                  <c:v>19.98</c:v>
                </c:pt>
                <c:pt idx="9">
                  <c:v>6.94</c:v>
                </c:pt>
                <c:pt idx="10">
                  <c:v>9.97</c:v>
                </c:pt>
                <c:pt idx="11">
                  <c:v>16.96</c:v>
                </c:pt>
                <c:pt idx="12">
                  <c:v>23.97</c:v>
                </c:pt>
                <c:pt idx="13">
                  <c:v>16.01</c:v>
                </c:pt>
                <c:pt idx="14">
                  <c:v>9.99</c:v>
                </c:pt>
                <c:pt idx="15">
                  <c:v>18.42</c:v>
                </c:pt>
                <c:pt idx="16">
                  <c:v>12.46</c:v>
                </c:pt>
                <c:pt idx="17">
                  <c:v>40.1</c:v>
                </c:pt>
                <c:pt idx="18">
                  <c:v>29.97</c:v>
                </c:pt>
                <c:pt idx="19">
                  <c:v>23.8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5.22</a:t>
                    </a:r>
                  </a:p>
                </c:rich>
              </c:tx>
              <c:showLegendKey val="0"/>
              <c:showVal val="1"/>
              <c:showCatName val="0"/>
              <c:showSerName val="0"/>
              <c:showPercent val="0"/>
              <c:showBubbleSize val="0"/>
            </c:dLbl>
            <c:dLbl>
              <c:idx val="1"/>
              <c:tx>
                <c:rich>
                  <a:bodyPr/>
                  <a:lstStyle/>
                  <a:p>
                    <a:r>
                      <a:t>10.59</a:t>
                    </a:r>
                  </a:p>
                </c:rich>
              </c:tx>
              <c:showLegendKey val="0"/>
              <c:showVal val="1"/>
              <c:showCatName val="0"/>
              <c:showSerName val="0"/>
              <c:showPercent val="0"/>
              <c:showBubbleSize val="0"/>
            </c:dLbl>
            <c:dLbl>
              <c:idx val="2"/>
              <c:tx>
                <c:rich>
                  <a:bodyPr/>
                  <a:lstStyle/>
                  <a:p>
                    <a:r>
                      <a:t>26.91</a:t>
                    </a:r>
                  </a:p>
                </c:rich>
              </c:tx>
              <c:showLegendKey val="0"/>
              <c:showVal val="1"/>
              <c:showCatName val="0"/>
              <c:showSerName val="0"/>
              <c:showPercent val="0"/>
              <c:showBubbleSize val="0"/>
            </c:dLbl>
            <c:dLbl>
              <c:idx val="3"/>
              <c:tx>
                <c:rich>
                  <a:bodyPr/>
                  <a:lstStyle/>
                  <a:p>
                    <a:r>
                      <a:t>16.88</a:t>
                    </a:r>
                  </a:p>
                </c:rich>
              </c:tx>
              <c:showLegendKey val="0"/>
              <c:showVal val="1"/>
              <c:showCatName val="0"/>
              <c:showSerName val="0"/>
              <c:showPercent val="0"/>
              <c:showBubbleSize val="0"/>
            </c:dLbl>
            <c:dLbl>
              <c:idx val="4"/>
              <c:tx>
                <c:rich>
                  <a:bodyPr/>
                  <a:lstStyle/>
                  <a:p>
                    <a:r>
                      <a:t>13.58</a:t>
                    </a:r>
                  </a:p>
                </c:rich>
              </c:tx>
              <c:showLegendKey val="0"/>
              <c:showVal val="1"/>
              <c:showCatName val="0"/>
              <c:showSerName val="0"/>
              <c:showPercent val="0"/>
              <c:showBubbleSize val="0"/>
            </c:dLbl>
            <c:dLbl>
              <c:idx val="5"/>
              <c:tx>
                <c:rich>
                  <a:bodyPr/>
                  <a:lstStyle/>
                  <a:p>
                    <a:r>
                      <a:t>10.19</a:t>
                    </a:r>
                  </a:p>
                </c:rich>
              </c:tx>
              <c:showLegendKey val="0"/>
              <c:showVal val="1"/>
              <c:showCatName val="0"/>
              <c:showSerName val="0"/>
              <c:showPercent val="0"/>
              <c:showBubbleSize val="0"/>
            </c:dLbl>
            <c:dLbl>
              <c:idx val="6"/>
              <c:tx>
                <c:rich>
                  <a:bodyPr/>
                  <a:lstStyle/>
                  <a:p>
                    <a:r>
                      <a:t>17.2</a:t>
                    </a:r>
                  </a:p>
                </c:rich>
              </c:tx>
              <c:showLegendKey val="0"/>
              <c:showVal val="1"/>
              <c:showCatName val="0"/>
              <c:showSerName val="0"/>
              <c:showPercent val="0"/>
              <c:showBubbleSize val="0"/>
            </c:dLbl>
            <c:dLbl>
              <c:idx val="7"/>
              <c:tx>
                <c:rich>
                  <a:bodyPr/>
                  <a:lstStyle/>
                  <a:p>
                    <a:r>
                      <a:t>24.64</a:t>
                    </a:r>
                  </a:p>
                </c:rich>
              </c:tx>
              <c:showLegendKey val="0"/>
              <c:showVal val="1"/>
              <c:showCatName val="0"/>
              <c:showSerName val="0"/>
              <c:showPercent val="0"/>
              <c:showBubbleSize val="0"/>
            </c:dLbl>
            <c:dLbl>
              <c:idx val="8"/>
              <c:tx>
                <c:rich>
                  <a:bodyPr/>
                  <a:lstStyle/>
                  <a:p>
                    <a:r>
                      <a:t>16.3</a:t>
                    </a:r>
                  </a:p>
                </c:rich>
              </c:tx>
              <c:showLegendKey val="0"/>
              <c:showVal val="1"/>
              <c:showCatName val="0"/>
              <c:showSerName val="0"/>
              <c:showPercent val="0"/>
              <c:showBubbleSize val="0"/>
            </c:dLbl>
            <c:dLbl>
              <c:idx val="9"/>
              <c:tx>
                <c:rich>
                  <a:bodyPr/>
                  <a:lstStyle/>
                  <a:p>
                    <a:r>
                      <a:t>18.77</a:t>
                    </a:r>
                  </a:p>
                </c:rich>
              </c:tx>
              <c:showLegendKey val="0"/>
              <c:showVal val="1"/>
              <c:showCatName val="0"/>
              <c:showSerName val="0"/>
              <c:showPercent val="0"/>
              <c:showBubbleSize val="0"/>
            </c:dLbl>
            <c:dLbl>
              <c:idx val="10"/>
              <c:tx>
                <c:rich>
                  <a:bodyPr/>
                  <a:lstStyle/>
                  <a:p>
                    <a:r>
                      <a:t>9.79</a:t>
                    </a:r>
                  </a:p>
                </c:rich>
              </c:tx>
              <c:showLegendKey val="0"/>
              <c:showVal val="1"/>
              <c:showCatName val="0"/>
              <c:showSerName val="0"/>
              <c:showPercent val="0"/>
              <c:showBubbleSize val="0"/>
            </c:dLbl>
            <c:dLbl>
              <c:idx val="11"/>
              <c:tx>
                <c:rich>
                  <a:bodyPr/>
                  <a:lstStyle/>
                  <a:p>
                    <a:r>
                      <a:t>9.7</a:t>
                    </a:r>
                  </a:p>
                </c:rich>
              </c:tx>
              <c:showLegendKey val="0"/>
              <c:showVal val="1"/>
              <c:showCatName val="0"/>
              <c:showSerName val="0"/>
              <c:showPercent val="0"/>
              <c:showBubbleSize val="0"/>
            </c:dLbl>
            <c:dLbl>
              <c:idx val="12"/>
              <c:tx>
                <c:rich>
                  <a:bodyPr/>
                  <a:lstStyle/>
                  <a:p>
                    <a:r>
                      <a:t>19.45</a:t>
                    </a:r>
                  </a:p>
                </c:rich>
              </c:tx>
              <c:showLegendKey val="0"/>
              <c:showVal val="1"/>
              <c:showCatName val="0"/>
              <c:showSerName val="0"/>
              <c:showPercent val="0"/>
              <c:showBubbleSize val="0"/>
            </c:dLbl>
            <c:dLbl>
              <c:idx val="13"/>
              <c:tx>
                <c:rich>
                  <a:bodyPr/>
                  <a:lstStyle/>
                  <a:p>
                    <a:r>
                      <a:t>42.25</a:t>
                    </a:r>
                  </a:p>
                </c:rich>
              </c:tx>
              <c:showLegendKey val="0"/>
              <c:showVal val="1"/>
              <c:showCatName val="0"/>
              <c:showSerName val="0"/>
              <c:showPercent val="0"/>
              <c:showBubbleSize val="0"/>
            </c:dLbl>
            <c:dLbl>
              <c:idx val="14"/>
              <c:tx>
                <c:rich>
                  <a:bodyPr/>
                  <a:lstStyle/>
                  <a:p>
                    <a:r>
                      <a:t>13.06</a:t>
                    </a:r>
                  </a:p>
                </c:rich>
              </c:tx>
              <c:showLegendKey val="0"/>
              <c:showVal val="1"/>
              <c:showCatName val="0"/>
              <c:showSerName val="0"/>
              <c:showPercent val="0"/>
              <c:showBubbleSize val="0"/>
            </c:dLbl>
            <c:dLbl>
              <c:idx val="15"/>
              <c:tx>
                <c:rich>
                  <a:bodyPr/>
                  <a:lstStyle/>
                  <a:p>
                    <a:r>
                      <a:t>32.12</a:t>
                    </a:r>
                  </a:p>
                </c:rich>
              </c:tx>
              <c:showLegendKey val="0"/>
              <c:showVal val="1"/>
              <c:showCatName val="0"/>
              <c:showSerName val="0"/>
              <c:showPercent val="0"/>
              <c:showBubbleSize val="0"/>
            </c:dLbl>
            <c:dLbl>
              <c:idx val="16"/>
              <c:tx>
                <c:rich>
                  <a:bodyPr/>
                  <a:lstStyle/>
                  <a:p>
                    <a:r>
                      <a:t>42.0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HYDRO 5 SENSITIVE 5 BLADE REFILL SENSITIVE 6CT</c:v>
                </c:pt>
                <c:pt idx="1">
                  <c:v>HYDRO 5 SENSITIVE 5 BLADE RAZOR SENSITIVE 3CT</c:v>
                </c:pt>
                <c:pt idx="2">
                  <c:v>HYDRO 5 SENSITIVE 5 BLADE REFILL SENSITIVE 12CT</c:v>
                </c:pt>
                <c:pt idx="3">
                  <c:v>HYDRO 5 DRY SKIN 5 BLADE REFILL DRY 6CT</c:v>
                </c:pt>
                <c:pt idx="4">
                  <c:v>SCHICK QUATTRO FOR MEN 4 BLADE REFILL NORMAL 8CT</c:v>
                </c:pt>
                <c:pt idx="5">
                  <c:v>HARRY'S 5 BLADE REFILL NORMAL 4CT</c:v>
                </c:pt>
                <c:pt idx="6">
                  <c:v>HARRY'S 5 BLADE REFILL NORMAL 8CT</c:v>
                </c:pt>
                <c:pt idx="7">
                  <c:v>HARRY'S 5 BLADE REFILL NORMAL 12CT</c:v>
                </c:pt>
                <c:pt idx="8">
                  <c:v>HARRY'S ORANGE 5 BLADE RAZOR NORMAL 5CT</c:v>
                </c:pt>
                <c:pt idx="9">
                  <c:v>HARRY'S SILVER 5 BLADE RAZOR NORMAL 5CT</c:v>
                </c:pt>
                <c:pt idx="10">
                  <c:v>BARBASOL ULTRA 6 PLUS GRAY 6 BLADE RAZOR NORMAL 2CT</c:v>
                </c:pt>
                <c:pt idx="11">
                  <c:v>BARBASOL ULTRA 6 PLUS 6 BLADE REFILL NORMAL 4CT</c:v>
                </c:pt>
                <c:pt idx="12">
                  <c:v>GILLETTE FUSION 5 5 BLADE REFILL NORMAL 4CT</c:v>
                </c:pt>
                <c:pt idx="13">
                  <c:v>GILLETTE FUSION 5 5 BLADE REFILL NORMAL 16CT</c:v>
                </c:pt>
                <c:pt idx="14">
                  <c:v>GILLETTE MACH 3 3 BLADE REFILL NORMAL 4CT</c:v>
                </c:pt>
                <c:pt idx="15">
                  <c:v>GILLETTE FUSION 5 5 BLADE REFILL NORMAL 8CT</c:v>
                </c:pt>
                <c:pt idx="16">
                  <c:v>GILLETTE FUSION 5 5 BLADE REFILL NORMAL 12CT</c:v>
                </c:pt>
              </c:strCache>
            </c:strRef>
          </c:cat>
          <c:val>
            <c:numRef>
              <c:f>Sheet1!$B$2:$B$18</c:f>
              <c:numCache>
                <c:formatCode>General</c:formatCode>
                <c:ptCount val="17"/>
                <c:pt idx="0">
                  <c:v>15.22</c:v>
                </c:pt>
                <c:pt idx="1">
                  <c:v>10.59</c:v>
                </c:pt>
                <c:pt idx="2">
                  <c:v>26.91</c:v>
                </c:pt>
                <c:pt idx="3">
                  <c:v>16.88</c:v>
                </c:pt>
                <c:pt idx="4">
                  <c:v>13.58</c:v>
                </c:pt>
                <c:pt idx="5">
                  <c:v>10.19</c:v>
                </c:pt>
                <c:pt idx="6">
                  <c:v>17.2</c:v>
                </c:pt>
                <c:pt idx="7">
                  <c:v>24.64</c:v>
                </c:pt>
                <c:pt idx="8">
                  <c:v>16.3</c:v>
                </c:pt>
                <c:pt idx="9">
                  <c:v>18.77</c:v>
                </c:pt>
                <c:pt idx="10">
                  <c:v>9.79</c:v>
                </c:pt>
                <c:pt idx="11">
                  <c:v>9.7</c:v>
                </c:pt>
                <c:pt idx="12">
                  <c:v>19.45</c:v>
                </c:pt>
                <c:pt idx="13">
                  <c:v>42.25</c:v>
                </c:pt>
                <c:pt idx="14">
                  <c:v>13.06</c:v>
                </c:pt>
                <c:pt idx="15">
                  <c:v>32.12</c:v>
                </c:pt>
                <c:pt idx="16">
                  <c:v>42.0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73</a:t>
                    </a:r>
                  </a:p>
                </c:rich>
              </c:tx>
              <c:showLegendKey val="0"/>
              <c:showVal val="1"/>
              <c:showCatName val="0"/>
              <c:showSerName val="0"/>
              <c:showPercent val="0"/>
              <c:showBubbleSize val="0"/>
            </c:dLbl>
            <c:dLbl>
              <c:idx val="1"/>
              <c:tx>
                <c:rich>
                  <a:bodyPr/>
                  <a:lstStyle/>
                  <a:p>
                    <a:r>
                      <a:t>9.96</a:t>
                    </a:r>
                  </a:p>
                </c:rich>
              </c:tx>
              <c:showLegendKey val="0"/>
              <c:showVal val="1"/>
              <c:showCatName val="0"/>
              <c:showSerName val="0"/>
              <c:showPercent val="0"/>
              <c:showBubbleSize val="0"/>
            </c:dLbl>
            <c:dLbl>
              <c:idx val="2"/>
              <c:tx>
                <c:rich>
                  <a:bodyPr/>
                  <a:lstStyle/>
                  <a:p>
                    <a:r>
                      <a:t>26.51</a:t>
                    </a:r>
                  </a:p>
                </c:rich>
              </c:tx>
              <c:showLegendKey val="0"/>
              <c:showVal val="1"/>
              <c:showCatName val="0"/>
              <c:showSerName val="0"/>
              <c:showPercent val="0"/>
              <c:showBubbleSize val="0"/>
            </c:dLbl>
            <c:dLbl>
              <c:idx val="3"/>
              <c:tx>
                <c:rich>
                  <a:bodyPr/>
                  <a:lstStyle/>
                  <a:p>
                    <a:r>
                      <a:t>16.85</a:t>
                    </a:r>
                  </a:p>
                </c:rich>
              </c:tx>
              <c:showLegendKey val="0"/>
              <c:showVal val="1"/>
              <c:showCatName val="0"/>
              <c:showSerName val="0"/>
              <c:showPercent val="0"/>
              <c:showBubbleSize val="0"/>
            </c:dLbl>
            <c:dLbl>
              <c:idx val="4"/>
              <c:tx>
                <c:rich>
                  <a:bodyPr/>
                  <a:lstStyle/>
                  <a:p>
                    <a:r>
                      <a:t>14.99</a:t>
                    </a:r>
                  </a:p>
                </c:rich>
              </c:tx>
              <c:showLegendKey val="0"/>
              <c:showVal val="1"/>
              <c:showCatName val="0"/>
              <c:showSerName val="0"/>
              <c:showPercent val="0"/>
              <c:showBubbleSize val="0"/>
            </c:dLbl>
            <c:dLbl>
              <c:idx val="5"/>
              <c:tx>
                <c:rich>
                  <a:bodyPr/>
                  <a:lstStyle/>
                  <a:p>
                    <a:r>
                      <a:t>9.97</a:t>
                    </a:r>
                  </a:p>
                </c:rich>
              </c:tx>
              <c:showLegendKey val="0"/>
              <c:showVal val="1"/>
              <c:showCatName val="0"/>
              <c:showSerName val="0"/>
              <c:showPercent val="0"/>
              <c:showBubbleSize val="0"/>
            </c:dLbl>
            <c:dLbl>
              <c:idx val="6"/>
              <c:tx>
                <c:rich>
                  <a:bodyPr/>
                  <a:lstStyle/>
                  <a:p>
                    <a:r>
                      <a:t>16.96</a:t>
                    </a:r>
                  </a:p>
                </c:rich>
              </c:tx>
              <c:showLegendKey val="0"/>
              <c:showVal val="1"/>
              <c:showCatName val="0"/>
              <c:showSerName val="0"/>
              <c:showPercent val="0"/>
              <c:showBubbleSize val="0"/>
            </c:dLbl>
            <c:dLbl>
              <c:idx val="7"/>
              <c:tx>
                <c:rich>
                  <a:bodyPr/>
                  <a:lstStyle/>
                  <a:p>
                    <a:r>
                      <a:t>23.97</a:t>
                    </a:r>
                  </a:p>
                </c:rich>
              </c:tx>
              <c:showLegendKey val="0"/>
              <c:showVal val="1"/>
              <c:showCatName val="0"/>
              <c:showSerName val="0"/>
              <c:showPercent val="0"/>
              <c:showBubbleSize val="0"/>
            </c:dLbl>
            <c:dLbl>
              <c:idx val="8"/>
              <c:tx>
                <c:rich>
                  <a:bodyPr/>
                  <a:lstStyle/>
                  <a:p>
                    <a:r>
                      <a:t>16.01</a:t>
                    </a:r>
                  </a:p>
                </c:rich>
              </c:tx>
              <c:showLegendKey val="0"/>
              <c:showVal val="1"/>
              <c:showCatName val="0"/>
              <c:showSerName val="0"/>
              <c:showPercent val="0"/>
              <c:showBubbleSize val="0"/>
            </c:dLbl>
            <c:dLbl>
              <c:idx val="9"/>
              <c:tx>
                <c:rich>
                  <a:bodyPr/>
                  <a:lstStyle/>
                  <a:p>
                    <a:r>
                      <a:t>9.99</a:t>
                    </a:r>
                  </a:p>
                </c:rich>
              </c:tx>
              <c:showLegendKey val="0"/>
              <c:showVal val="1"/>
              <c:showCatName val="0"/>
              <c:showSerName val="0"/>
              <c:showPercent val="0"/>
              <c:showBubbleSize val="0"/>
            </c:dLbl>
            <c:dLbl>
              <c:idx val="10"/>
              <c:tx>
                <c:rich>
                  <a:bodyPr/>
                  <a:lstStyle/>
                  <a:p>
                    <a:r>
                      <a:t>18.42</a:t>
                    </a:r>
                  </a:p>
                </c:rich>
              </c:tx>
              <c:showLegendKey val="0"/>
              <c:showVal val="1"/>
              <c:showCatName val="0"/>
              <c:showSerName val="0"/>
              <c:showPercent val="0"/>
              <c:showBubbleSize val="0"/>
            </c:dLbl>
            <c:dLbl>
              <c:idx val="11"/>
              <c:tx>
                <c:rich>
                  <a:bodyPr/>
                  <a:lstStyle/>
                  <a:p>
                    <a:r>
                      <a:t>12.46</a:t>
                    </a:r>
                  </a:p>
                </c:rich>
              </c:tx>
              <c:showLegendKey val="0"/>
              <c:showVal val="1"/>
              <c:showCatName val="0"/>
              <c:showSerName val="0"/>
              <c:showPercent val="0"/>
              <c:showBubbleSize val="0"/>
            </c:dLbl>
            <c:dLbl>
              <c:idx val="12"/>
              <c:tx>
                <c:rich>
                  <a:bodyPr/>
                  <a:lstStyle/>
                  <a:p>
                    <a:r>
                      <a:t>40.1</a:t>
                    </a:r>
                  </a:p>
                </c:rich>
              </c:tx>
              <c:showLegendKey val="0"/>
              <c:showVal val="1"/>
              <c:showCatName val="0"/>
              <c:showSerName val="0"/>
              <c:showPercent val="0"/>
              <c:showBubbleSize val="0"/>
            </c:dLbl>
            <c:dLbl>
              <c:idx val="13"/>
              <c:tx>
                <c:rich>
                  <a:bodyPr/>
                  <a:lstStyle/>
                  <a:p>
                    <a:r>
                      <a:t>29.97</a:t>
                    </a:r>
                  </a:p>
                </c:rich>
              </c:tx>
              <c:showLegendKey val="0"/>
              <c:showVal val="1"/>
              <c:showCatName val="0"/>
              <c:showSerName val="0"/>
              <c:showPercent val="0"/>
              <c:showBubbleSize val="0"/>
            </c:dLbl>
            <c:dLbl>
              <c:idx val="14"/>
              <c:tx>
                <c:rich>
                  <a:bodyPr/>
                  <a:lstStyle/>
                  <a:p>
                    <a:r>
                      <a:t>23.89</a:t>
                    </a:r>
                  </a:p>
                </c:rich>
              </c:tx>
              <c:showLegendKey val="0"/>
              <c:showVal val="1"/>
              <c:showCatName val="0"/>
              <c:showSerName val="0"/>
              <c:showPercent val="0"/>
              <c:showBubbleSize val="0"/>
            </c:dLbl>
            <c:dLbl>
              <c:idx val="15"/>
              <c:tx>
                <c:rich>
                  <a:bodyPr/>
                  <a:lstStyle/>
                  <a:p>
                    <a:r>
                      <a:t>8.97</a:t>
                    </a:r>
                  </a:p>
                </c:rich>
              </c:tx>
              <c:showLegendKey val="0"/>
              <c:showVal val="1"/>
              <c:showCatName val="0"/>
              <c:showSerName val="0"/>
              <c:showPercent val="0"/>
              <c:showBubbleSize val="0"/>
            </c:dLbl>
            <c:dLbl>
              <c:idx val="16"/>
              <c:tx>
                <c:rich>
                  <a:bodyPr/>
                  <a:lstStyle/>
                  <a:p>
                    <a:r>
                      <a:t>8.97</a:t>
                    </a:r>
                  </a:p>
                </c:rich>
              </c:tx>
              <c:showLegendKey val="0"/>
              <c:showVal val="1"/>
              <c:showCatName val="0"/>
              <c:showSerName val="0"/>
              <c:showPercent val="0"/>
              <c:showBubbleSize val="0"/>
            </c:dLbl>
            <c:dLbl>
              <c:idx val="17"/>
              <c:tx>
                <c:rich>
                  <a:bodyPr/>
                  <a:lstStyle/>
                  <a:p>
                    <a:r>
                      <a:t>16.96</a:t>
                    </a:r>
                  </a:p>
                </c:rich>
              </c:tx>
              <c:showLegendKey val="0"/>
              <c:showVal val="1"/>
              <c:showCatName val="0"/>
              <c:showSerName val="0"/>
              <c:showPercent val="0"/>
              <c:showBubbleSize val="0"/>
            </c:dLbl>
            <c:dLbl>
              <c:idx val="18"/>
              <c:tx>
                <c:rich>
                  <a:bodyPr/>
                  <a:lstStyle/>
                  <a:p>
                    <a:r>
                      <a:t>9.0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HYDRO 5 SENSITIVE 5 BLADE REFILL SENSITIVE 6CT</c:v>
                </c:pt>
                <c:pt idx="1">
                  <c:v>HYDRO 5 SENSITIVE 5 BLADE RAZOR SENSITIVE 3CT</c:v>
                </c:pt>
                <c:pt idx="2">
                  <c:v>HYDRO 5 SENSITIVE 5 BLADE REFILL SENSITIVE 12CT</c:v>
                </c:pt>
                <c:pt idx="3">
                  <c:v>CREMO 5 BLADE RAZOR NORMAL 2CT</c:v>
                </c:pt>
                <c:pt idx="4">
                  <c:v>CREMO 5 BLADE REFILL NORMAL 4CT</c:v>
                </c:pt>
                <c:pt idx="5">
                  <c:v>HARRY'S 5 BLADE REFILL NORMAL 4CT</c:v>
                </c:pt>
                <c:pt idx="6">
                  <c:v>HARRY'S 5 BLADE REFILL NORMAL 8CT</c:v>
                </c:pt>
                <c:pt idx="7">
                  <c:v>HARRY'S 5 BLADE REFILL NORMAL 12CT</c:v>
                </c:pt>
                <c:pt idx="8">
                  <c:v>HARRY'S ORANGE 5 BLADE RAZOR NORMAL 5CT</c:v>
                </c:pt>
                <c:pt idx="9">
                  <c:v>HARRY'S SURF BLUE 5 BLADE RAZOR NORMAL 2CT</c:v>
                </c:pt>
                <c:pt idx="10">
                  <c:v>GILLETTE FUSION 5 5 BLADE REFILL NORMAL 4CT</c:v>
                </c:pt>
                <c:pt idx="11">
                  <c:v>GILLETTE MACH 3 3 BLADE REFILL NORMAL 4CT</c:v>
                </c:pt>
                <c:pt idx="12">
                  <c:v>GILLETTE FUSION 5 5 BLADE REFILL NORMAL 12CT</c:v>
                </c:pt>
                <c:pt idx="13">
                  <c:v>GILLETTE FUSION 5 5 BLADE REFILL NORMAL 8CT</c:v>
                </c:pt>
                <c:pt idx="14">
                  <c:v>GILLETTE FUSION 5 5 BLADE RAZOR NORMAL 5CT</c:v>
                </c:pt>
                <c:pt idx="15">
                  <c:v>DOLLAR SHAVE CLUB 6 BLADE REFILL NORMAL 4CT</c:v>
                </c:pt>
                <c:pt idx="16">
                  <c:v>DOLLAR SHAVE CLUB BLACK 6 BLADE RAZOR NORMAL 2CT</c:v>
                </c:pt>
                <c:pt idx="17">
                  <c:v>DOLLAR SHAVE CLUB 6 BLADE REFILL NORMAL 8CT</c:v>
                </c:pt>
                <c:pt idx="18">
                  <c:v>DOLLAR SHAVE CLUB RED BLUE WHITE 6 BLADE RAZOR NORMAL 2CT</c:v>
                </c:pt>
              </c:strCache>
            </c:strRef>
          </c:cat>
          <c:val>
            <c:numRef>
              <c:f>Sheet1!$B$2:$B$20</c:f>
              <c:numCache>
                <c:formatCode>General</c:formatCode>
                <c:ptCount val="19"/>
                <c:pt idx="0">
                  <c:v>14.73</c:v>
                </c:pt>
                <c:pt idx="1">
                  <c:v>9.96</c:v>
                </c:pt>
                <c:pt idx="2">
                  <c:v>26.51</c:v>
                </c:pt>
                <c:pt idx="3">
                  <c:v>16.85</c:v>
                </c:pt>
                <c:pt idx="4">
                  <c:v>14.99</c:v>
                </c:pt>
                <c:pt idx="5">
                  <c:v>9.97</c:v>
                </c:pt>
                <c:pt idx="6">
                  <c:v>16.96</c:v>
                </c:pt>
                <c:pt idx="7">
                  <c:v>23.97</c:v>
                </c:pt>
                <c:pt idx="8">
                  <c:v>16.01</c:v>
                </c:pt>
                <c:pt idx="9">
                  <c:v>9.99</c:v>
                </c:pt>
                <c:pt idx="10">
                  <c:v>18.42</c:v>
                </c:pt>
                <c:pt idx="11">
                  <c:v>12.46</c:v>
                </c:pt>
                <c:pt idx="12">
                  <c:v>40.1</c:v>
                </c:pt>
                <c:pt idx="13">
                  <c:v>29.97</c:v>
                </c:pt>
                <c:pt idx="14">
                  <c:v>23.89</c:v>
                </c:pt>
                <c:pt idx="15">
                  <c:v>8.97</c:v>
                </c:pt>
                <c:pt idx="16">
                  <c:v>8.97</c:v>
                </c:pt>
                <c:pt idx="17">
                  <c:v>16.96</c:v>
                </c:pt>
                <c:pt idx="18">
                  <c:v>9.0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09</a:t>
                    </a:r>
                  </a:p>
                </c:rich>
              </c:tx>
              <c:showLegendKey val="0"/>
              <c:showVal val="1"/>
              <c:showCatName val="0"/>
              <c:showSerName val="0"/>
              <c:showPercent val="0"/>
              <c:showBubbleSize val="0"/>
            </c:dLbl>
            <c:dLbl>
              <c:idx val="1"/>
              <c:tx>
                <c:rich>
                  <a:bodyPr/>
                  <a:lstStyle/>
                  <a:p>
                    <a:r>
                      <a:t>7.29</a:t>
                    </a:r>
                  </a:p>
                </c:rich>
              </c:tx>
              <c:showLegendKey val="0"/>
              <c:showVal val="1"/>
              <c:showCatName val="0"/>
              <c:showSerName val="0"/>
              <c:showPercent val="0"/>
              <c:showBubbleSize val="0"/>
            </c:dLbl>
            <c:dLbl>
              <c:idx val="2"/>
              <c:tx>
                <c:rich>
                  <a:bodyPr/>
                  <a:lstStyle/>
                  <a:p>
                    <a:r>
                      <a:t>7.27</a:t>
                    </a:r>
                  </a:p>
                </c:rich>
              </c:tx>
              <c:showLegendKey val="0"/>
              <c:showVal val="1"/>
              <c:showCatName val="0"/>
              <c:showSerName val="0"/>
              <c:showPercent val="0"/>
              <c:showBubbleSize val="0"/>
            </c:dLbl>
            <c:dLbl>
              <c:idx val="3"/>
              <c:tx>
                <c:rich>
                  <a:bodyPr/>
                  <a:lstStyle/>
                  <a:p>
                    <a:r>
                      <a:t>11.92</a:t>
                    </a:r>
                  </a:p>
                </c:rich>
              </c:tx>
              <c:showLegendKey val="0"/>
              <c:showVal val="1"/>
              <c:showCatName val="0"/>
              <c:showSerName val="0"/>
              <c:showPercent val="0"/>
              <c:showBubbleSize val="0"/>
            </c:dLbl>
            <c:dLbl>
              <c:idx val="4"/>
              <c:tx>
                <c:rich>
                  <a:bodyPr/>
                  <a:lstStyle/>
                  <a:p>
                    <a:r>
                      <a:t>9.2</a:t>
                    </a:r>
                  </a:p>
                </c:rich>
              </c:tx>
              <c:showLegendKey val="0"/>
              <c:showVal val="1"/>
              <c:showCatName val="0"/>
              <c:showSerName val="0"/>
              <c:showPercent val="0"/>
              <c:showBubbleSize val="0"/>
            </c:dLbl>
            <c:dLbl>
              <c:idx val="5"/>
              <c:tx>
                <c:rich>
                  <a:bodyPr/>
                  <a:lstStyle/>
                  <a:p>
                    <a:r>
                      <a:t>6.93</a:t>
                    </a:r>
                  </a:p>
                </c:rich>
              </c:tx>
              <c:showLegendKey val="0"/>
              <c:showVal val="1"/>
              <c:showCatName val="0"/>
              <c:showSerName val="0"/>
              <c:showPercent val="0"/>
              <c:showBubbleSize val="0"/>
            </c:dLbl>
            <c:dLbl>
              <c:idx val="6"/>
              <c:tx>
                <c:rich>
                  <a:bodyPr/>
                  <a:lstStyle/>
                  <a:p>
                    <a:r>
                      <a:t>7.15</a:t>
                    </a:r>
                  </a:p>
                </c:rich>
              </c:tx>
              <c:showLegendKey val="0"/>
              <c:showVal val="1"/>
              <c:showCatName val="0"/>
              <c:showSerName val="0"/>
              <c:showPercent val="0"/>
              <c:showBubbleSize val="0"/>
            </c:dLbl>
            <c:dLbl>
              <c:idx val="7"/>
              <c:tx>
                <c:rich>
                  <a:bodyPr/>
                  <a:lstStyle/>
                  <a:p>
                    <a:r>
                      <a:t>3.77</a:t>
                    </a:r>
                  </a:p>
                </c:rich>
              </c:tx>
              <c:showLegendKey val="0"/>
              <c:showVal val="1"/>
              <c:showCatName val="0"/>
              <c:showSerName val="0"/>
              <c:showPercent val="0"/>
              <c:showBubbleSize val="0"/>
            </c:dLbl>
            <c:dLbl>
              <c:idx val="8"/>
              <c:tx>
                <c:rich>
                  <a:bodyPr/>
                  <a:lstStyle/>
                  <a:p>
                    <a:r>
                      <a:t>5.26</a:t>
                    </a:r>
                  </a:p>
                </c:rich>
              </c:tx>
              <c:showLegendKey val="0"/>
              <c:showVal val="1"/>
              <c:showCatName val="0"/>
              <c:showSerName val="0"/>
              <c:showPercent val="0"/>
              <c:showBubbleSize val="0"/>
            </c:dLbl>
            <c:dLbl>
              <c:idx val="9"/>
              <c:tx>
                <c:rich>
                  <a:bodyPr/>
                  <a:lstStyle/>
                  <a:p>
                    <a:r>
                      <a:t>5.15</a:t>
                    </a:r>
                  </a:p>
                </c:rich>
              </c:tx>
              <c:showLegendKey val="0"/>
              <c:showVal val="1"/>
              <c:showCatName val="0"/>
              <c:showSerName val="0"/>
              <c:showPercent val="0"/>
              <c:showBubbleSize val="0"/>
            </c:dLbl>
            <c:dLbl>
              <c:idx val="10"/>
              <c:tx>
                <c:rich>
                  <a:bodyPr/>
                  <a:lstStyle/>
                  <a:p>
                    <a:r>
                      <a:t>7.9</a:t>
                    </a:r>
                  </a:p>
                </c:rich>
              </c:tx>
              <c:showLegendKey val="0"/>
              <c:showVal val="1"/>
              <c:showCatName val="0"/>
              <c:showSerName val="0"/>
              <c:showPercent val="0"/>
              <c:showBubbleSize val="0"/>
            </c:dLbl>
            <c:dLbl>
              <c:idx val="11"/>
              <c:tx>
                <c:rich>
                  <a:bodyPr/>
                  <a:lstStyle/>
                  <a:p>
                    <a:r>
                      <a:t>11.13</a:t>
                    </a:r>
                  </a:p>
                </c:rich>
              </c:tx>
              <c:showLegendKey val="0"/>
              <c:showVal val="1"/>
              <c:showCatName val="0"/>
              <c:showSerName val="0"/>
              <c:showPercent val="0"/>
              <c:showBubbleSize val="0"/>
            </c:dLbl>
            <c:dLbl>
              <c:idx val="12"/>
              <c:tx>
                <c:rich>
                  <a:bodyPr/>
                  <a:lstStyle/>
                  <a:p>
                    <a:r>
                      <a:t>11.13</a:t>
                    </a:r>
                  </a:p>
                </c:rich>
              </c:tx>
              <c:showLegendKey val="0"/>
              <c:showVal val="1"/>
              <c:showCatName val="0"/>
              <c:showSerName val="0"/>
              <c:showPercent val="0"/>
              <c:showBubbleSize val="0"/>
            </c:dLbl>
            <c:dLbl>
              <c:idx val="13"/>
              <c:tx>
                <c:rich>
                  <a:bodyPr/>
                  <a:lstStyle/>
                  <a:p>
                    <a:r>
                      <a:t>7.46</a:t>
                    </a:r>
                  </a:p>
                </c:rich>
              </c:tx>
              <c:showLegendKey val="0"/>
              <c:showVal val="1"/>
              <c:showCatName val="0"/>
              <c:showSerName val="0"/>
              <c:showPercent val="0"/>
              <c:showBubbleSize val="0"/>
            </c:dLbl>
            <c:dLbl>
              <c:idx val="14"/>
              <c:tx>
                <c:rich>
                  <a:bodyPr/>
                  <a:lstStyle/>
                  <a:p>
                    <a:r>
                      <a:t>33.5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CHICK XTREME 3 SENSITIVE BLACK GREEN 3 BLADE DISPOSABLE SENSITIVE 20CT</c:v>
                </c:pt>
                <c:pt idx="1">
                  <c:v>SCHICK XTREME 2 SENSITIVE 2 BLADE DISPOSABLE NORMAL 12CT</c:v>
                </c:pt>
                <c:pt idx="2">
                  <c:v>SCHICK XTREME 3 SENSITIVE BLACK 3 BLADE DISPOSABLE SENSITIVE 4CT</c:v>
                </c:pt>
                <c:pt idx="3">
                  <c:v>SCHICK XTREME 3 SENSITIVE GREEN 3 BLADE DISPOSABLE SENSITIVE 8CT</c:v>
                </c:pt>
                <c:pt idx="4">
                  <c:v>SCHICK XTREME 3 SENSITIVE GREEN BLACK 3 BLADE DISPOSABLE SENSITIVE 4CT</c:v>
                </c:pt>
                <c:pt idx="5">
                  <c:v>BIC FLEX 4 4 BLADE DISPOSABLE SENSITIVE 3CT</c:v>
                </c:pt>
                <c:pt idx="6">
                  <c:v>BIC FLEX 5 BLACK WHITE 5 BLADE DISPOSABLE NORMAL 2CT</c:v>
                </c:pt>
                <c:pt idx="7">
                  <c:v>BIC SINGLE SENSITIVE 1 BLADE DISPOSABLE SENSITIVE 12CT</c:v>
                </c:pt>
                <c:pt idx="8">
                  <c:v>BIC FLEX 3 3 BLADE DISPOSABLE NORMAL 2CT</c:v>
                </c:pt>
                <c:pt idx="9">
                  <c:v>BIC SENSITIVE 3 3 BLADE DISPOSABLE SENSITIVE 5CT</c:v>
                </c:pt>
                <c:pt idx="10">
                  <c:v>GILLETTE MACH 3 MULTI COLOR 3 BLADE DISPOSABLE SENSITIVE 3CT</c:v>
                </c:pt>
                <c:pt idx="11">
                  <c:v>GILLETTE SENSOR 2 FIXED 2 BLADE DISPOSABLE NORMAL 12CT</c:v>
                </c:pt>
                <c:pt idx="12">
                  <c:v>GILLETTE SENSOR 2 PLUS PIVOT 2 BLADE DISPOSABLE NORMAL 10CT</c:v>
                </c:pt>
                <c:pt idx="13">
                  <c:v>GILLETTE SENSOR 3 SENSITIVE GREEN 3 BLADE DISPOSABLE SENSITIVE 4CT</c:v>
                </c:pt>
                <c:pt idx="14">
                  <c:v>GILLETTE SENSOR 2 PLUS PIVOT 2 BLADE DISPOSABLE NORMAL 52CT</c:v>
                </c:pt>
              </c:strCache>
            </c:strRef>
          </c:cat>
          <c:val>
            <c:numRef>
              <c:f>Sheet1!$B$2:$B$16</c:f>
              <c:numCache>
                <c:formatCode>General</c:formatCode>
                <c:ptCount val="15"/>
                <c:pt idx="0">
                  <c:v>20.09</c:v>
                </c:pt>
                <c:pt idx="1">
                  <c:v>7.29</c:v>
                </c:pt>
                <c:pt idx="2">
                  <c:v>7.27</c:v>
                </c:pt>
                <c:pt idx="3">
                  <c:v>11.92</c:v>
                </c:pt>
                <c:pt idx="4">
                  <c:v>9.2</c:v>
                </c:pt>
                <c:pt idx="5">
                  <c:v>6.93</c:v>
                </c:pt>
                <c:pt idx="6">
                  <c:v>7.15</c:v>
                </c:pt>
                <c:pt idx="7">
                  <c:v>3.77</c:v>
                </c:pt>
                <c:pt idx="8">
                  <c:v>5.26</c:v>
                </c:pt>
                <c:pt idx="9">
                  <c:v>5.15</c:v>
                </c:pt>
                <c:pt idx="10">
                  <c:v>7.9</c:v>
                </c:pt>
                <c:pt idx="11">
                  <c:v>11.13</c:v>
                </c:pt>
                <c:pt idx="12">
                  <c:v>11.13</c:v>
                </c:pt>
                <c:pt idx="13">
                  <c:v>7.46</c:v>
                </c:pt>
                <c:pt idx="14">
                  <c:v>33.5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1</a:t>
                    </a:r>
                  </a:p>
                </c:rich>
              </c:tx>
              <c:showLegendKey val="0"/>
              <c:showVal val="1"/>
              <c:showCatName val="0"/>
              <c:showSerName val="0"/>
              <c:showPercent val="0"/>
              <c:showBubbleSize val="0"/>
            </c:dLbl>
            <c:dLbl>
              <c:idx val="1"/>
              <c:tx>
                <c:rich>
                  <a:bodyPr/>
                  <a:lstStyle/>
                  <a:p>
                    <a:r>
                      <a:t>24.71</a:t>
                    </a:r>
                  </a:p>
                </c:rich>
              </c:tx>
              <c:showLegendKey val="0"/>
              <c:showVal val="1"/>
              <c:showCatName val="0"/>
              <c:showSerName val="0"/>
              <c:showPercent val="0"/>
              <c:showBubbleSize val="0"/>
            </c:dLbl>
            <c:dLbl>
              <c:idx val="2"/>
              <c:tx>
                <c:rich>
                  <a:bodyPr/>
                  <a:lstStyle/>
                  <a:p>
                    <a:r>
                      <a:t>33.57</a:t>
                    </a:r>
                  </a:p>
                </c:rich>
              </c:tx>
              <c:showLegendKey val="0"/>
              <c:showVal val="1"/>
              <c:showCatName val="0"/>
              <c:showSerName val="0"/>
              <c:showPercent val="0"/>
              <c:showBubbleSize val="0"/>
            </c:dLbl>
            <c:dLbl>
              <c:idx val="3"/>
              <c:tx>
                <c:rich>
                  <a:bodyPr/>
                  <a:lstStyle/>
                  <a:p>
                    <a:r>
                      <a:t>23.98</a:t>
                    </a:r>
                  </a:p>
                </c:rich>
              </c:tx>
              <c:showLegendKey val="0"/>
              <c:showVal val="1"/>
              <c:showCatName val="0"/>
              <c:showSerName val="0"/>
              <c:showPercent val="0"/>
              <c:showBubbleSize val="0"/>
            </c:dLbl>
            <c:dLbl>
              <c:idx val="4"/>
              <c:tx>
                <c:rich>
                  <a:bodyPr/>
                  <a:lstStyle/>
                  <a:p>
                    <a:r>
                      <a:t>19.4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CHICK XTREME 3 SENSITIVE BLACK GREEN 3 BLADE DISPOSABLE SENSITIVE 20CT</c:v>
                </c:pt>
                <c:pt idx="1">
                  <c:v>SCHICK XTREME 3 SENSITIVE BLACK 3 BLADE DISPOSABLE SENSITIVE 20CT</c:v>
                </c:pt>
                <c:pt idx="2">
                  <c:v>GILLETTE SENSOR 2 PLUS PIVOT 2 BLADE DISPOSABLE NORMAL 52CT</c:v>
                </c:pt>
                <c:pt idx="3">
                  <c:v>GILLETTE SENSOR 3 SENSITIVE BLUE GREEN 3 BLADE DISPOSABLE SENSITIVE 24CT</c:v>
                </c:pt>
                <c:pt idx="4">
                  <c:v>BIC FLEX 5 BLACK WHITE 5 BLADE DISPOSABLE NORMAL 9CT</c:v>
                </c:pt>
              </c:strCache>
            </c:strRef>
          </c:cat>
          <c:val>
            <c:numRef>
              <c:f>Sheet1!$B$2:$B$6</c:f>
              <c:numCache>
                <c:formatCode>General</c:formatCode>
                <c:ptCount val="5"/>
                <c:pt idx="0">
                  <c:v>20.1</c:v>
                </c:pt>
                <c:pt idx="1">
                  <c:v>24.71</c:v>
                </c:pt>
                <c:pt idx="2">
                  <c:v>33.57</c:v>
                </c:pt>
                <c:pt idx="3">
                  <c:v>23.98</c:v>
                </c:pt>
                <c:pt idx="4">
                  <c:v>19.4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5</a:t>
                    </a:r>
                  </a:p>
                </c:rich>
              </c:tx>
              <c:showLegendKey val="0"/>
              <c:showVal val="1"/>
              <c:showCatName val="0"/>
              <c:showSerName val="0"/>
              <c:showPercent val="0"/>
              <c:showBubbleSize val="0"/>
            </c:dLbl>
            <c:dLbl>
              <c:idx val="1"/>
              <c:tx>
                <c:rich>
                  <a:bodyPr/>
                  <a:lstStyle/>
                  <a:p>
                    <a:r>
                      <a:t>11.02</a:t>
                    </a:r>
                  </a:p>
                </c:rich>
              </c:tx>
              <c:showLegendKey val="0"/>
              <c:showVal val="1"/>
              <c:showCatName val="0"/>
              <c:showSerName val="0"/>
              <c:showPercent val="0"/>
              <c:showBubbleSize val="0"/>
            </c:dLbl>
            <c:dLbl>
              <c:idx val="2"/>
              <c:tx>
                <c:rich>
                  <a:bodyPr/>
                  <a:lstStyle/>
                  <a:p>
                    <a:r>
                      <a:t>11.02</a:t>
                    </a:r>
                  </a:p>
                </c:rich>
              </c:tx>
              <c:showLegendKey val="0"/>
              <c:showVal val="1"/>
              <c:showCatName val="0"/>
              <c:showSerName val="0"/>
              <c:showPercent val="0"/>
              <c:showBubbleSize val="0"/>
            </c:dLbl>
            <c:dLbl>
              <c:idx val="3"/>
              <c:tx>
                <c:rich>
                  <a:bodyPr/>
                  <a:lstStyle/>
                  <a:p>
                    <a:r>
                      <a:t>6.53</a:t>
                    </a:r>
                  </a:p>
                </c:rich>
              </c:tx>
              <c:showLegendKey val="0"/>
              <c:showVal val="1"/>
              <c:showCatName val="0"/>
              <c:showSerName val="0"/>
              <c:showPercent val="0"/>
              <c:showBubbleSize val="0"/>
            </c:dLbl>
            <c:dLbl>
              <c:idx val="4"/>
              <c:tx>
                <c:rich>
                  <a:bodyPr/>
                  <a:lstStyle/>
                  <a:p>
                    <a:r>
                      <a:t>15.1</a:t>
                    </a:r>
                  </a:p>
                </c:rich>
              </c:tx>
              <c:showLegendKey val="0"/>
              <c:showVal val="1"/>
              <c:showCatName val="0"/>
              <c:showSerName val="0"/>
              <c:showPercent val="0"/>
              <c:showBubbleSize val="0"/>
            </c:dLbl>
            <c:dLbl>
              <c:idx val="5"/>
              <c:tx>
                <c:rich>
                  <a:bodyPr/>
                  <a:lstStyle/>
                  <a:p>
                    <a:r>
                      <a:t>3.43</a:t>
                    </a:r>
                  </a:p>
                </c:rich>
              </c:tx>
              <c:showLegendKey val="0"/>
              <c:showVal val="1"/>
              <c:showCatName val="0"/>
              <c:showSerName val="0"/>
              <c:showPercent val="0"/>
              <c:showBubbleSize val="0"/>
            </c:dLbl>
            <c:dLbl>
              <c:idx val="6"/>
              <c:tx>
                <c:rich>
                  <a:bodyPr/>
                  <a:lstStyle/>
                  <a:p>
                    <a:r>
                      <a:t>6.94</a:t>
                    </a:r>
                  </a:p>
                </c:rich>
              </c:tx>
              <c:showLegendKey val="0"/>
              <c:showVal val="1"/>
              <c:showCatName val="0"/>
              <c:showSerName val="0"/>
              <c:showPercent val="0"/>
              <c:showBubbleSize val="0"/>
            </c:dLbl>
            <c:dLbl>
              <c:idx val="7"/>
              <c:tx>
                <c:rich>
                  <a:bodyPr/>
                  <a:lstStyle/>
                  <a:p>
                    <a:r>
                      <a:t>10.92</a:t>
                    </a:r>
                  </a:p>
                </c:rich>
              </c:tx>
              <c:showLegendKey val="0"/>
              <c:showVal val="1"/>
              <c:showCatName val="0"/>
              <c:showSerName val="0"/>
              <c:showPercent val="0"/>
              <c:showBubbleSize val="0"/>
            </c:dLbl>
            <c:dLbl>
              <c:idx val="8"/>
              <c:tx>
                <c:rich>
                  <a:bodyPr/>
                  <a:lstStyle/>
                  <a:p>
                    <a:r>
                      <a:t>3.98</a:t>
                    </a:r>
                  </a:p>
                </c:rich>
              </c:tx>
              <c:showLegendKey val="0"/>
              <c:showVal val="1"/>
              <c:showCatName val="0"/>
              <c:showSerName val="0"/>
              <c:showPercent val="0"/>
              <c:showBubbleSize val="0"/>
            </c:dLbl>
            <c:dLbl>
              <c:idx val="9"/>
              <c:tx>
                <c:rich>
                  <a:bodyPr/>
                  <a:lstStyle/>
                  <a:p>
                    <a:r>
                      <a:t>6.45</a:t>
                    </a:r>
                  </a:p>
                </c:rich>
              </c:tx>
              <c:showLegendKey val="0"/>
              <c:showVal val="1"/>
              <c:showCatName val="0"/>
              <c:showSerName val="0"/>
              <c:showPercent val="0"/>
              <c:showBubbleSize val="0"/>
            </c:dLbl>
            <c:dLbl>
              <c:idx val="10"/>
              <c:tx>
                <c:rich>
                  <a:bodyPr/>
                  <a:lstStyle/>
                  <a:p>
                    <a:r>
                      <a:t>5.49</a:t>
                    </a:r>
                  </a:p>
                </c:rich>
              </c:tx>
              <c:showLegendKey val="0"/>
              <c:showVal val="1"/>
              <c:showCatName val="0"/>
              <c:showSerName val="0"/>
              <c:showPercent val="0"/>
              <c:showBubbleSize val="0"/>
            </c:dLbl>
            <c:dLbl>
              <c:idx val="11"/>
              <c:tx>
                <c:rich>
                  <a:bodyPr/>
                  <a:lstStyle/>
                  <a:p>
                    <a:r>
                      <a:t>2.18</a:t>
                    </a:r>
                  </a:p>
                </c:rich>
              </c:tx>
              <c:showLegendKey val="0"/>
              <c:showVal val="1"/>
              <c:showCatName val="0"/>
              <c:showSerName val="0"/>
              <c:showPercent val="0"/>
              <c:showBubbleSize val="0"/>
            </c:dLbl>
            <c:dLbl>
              <c:idx val="12"/>
              <c:tx>
                <c:rich>
                  <a:bodyPr/>
                  <a:lstStyle/>
                  <a:p>
                    <a:r>
                      <a:t>5.98</a:t>
                    </a:r>
                  </a:p>
                </c:rich>
              </c:tx>
              <c:showLegendKey val="0"/>
              <c:showVal val="1"/>
              <c:showCatName val="0"/>
              <c:showSerName val="0"/>
              <c:showPercent val="0"/>
              <c:showBubbleSize val="0"/>
            </c:dLbl>
            <c:dLbl>
              <c:idx val="13"/>
              <c:tx>
                <c:rich>
                  <a:bodyPr/>
                  <a:lstStyle/>
                  <a:p>
                    <a:r>
                      <a:t>3.97</a:t>
                    </a:r>
                  </a:p>
                </c:rich>
              </c:tx>
              <c:showLegendKey val="0"/>
              <c:showVal val="1"/>
              <c:showCatName val="0"/>
              <c:showSerName val="0"/>
              <c:showPercent val="0"/>
              <c:showBubbleSize val="0"/>
            </c:dLbl>
            <c:dLbl>
              <c:idx val="14"/>
              <c:tx>
                <c:rich>
                  <a:bodyPr/>
                  <a:lstStyle/>
                  <a:p>
                    <a:r>
                      <a:t>4.15</a:t>
                    </a:r>
                  </a:p>
                </c:rich>
              </c:tx>
              <c:showLegendKey val="0"/>
              <c:showVal val="1"/>
              <c:showCatName val="0"/>
              <c:showSerName val="0"/>
              <c:showPercent val="0"/>
              <c:showBubbleSize val="0"/>
            </c:dLbl>
            <c:dLbl>
              <c:idx val="15"/>
              <c:tx>
                <c:rich>
                  <a:bodyPr/>
                  <a:lstStyle/>
                  <a:p>
                    <a:r>
                      <a:t>9.98</a:t>
                    </a:r>
                  </a:p>
                </c:rich>
              </c:tx>
              <c:showLegendKey val="0"/>
              <c:showVal val="1"/>
              <c:showCatName val="0"/>
              <c:showSerName val="0"/>
              <c:showPercent val="0"/>
              <c:showBubbleSize val="0"/>
            </c:dLbl>
            <c:dLbl>
              <c:idx val="16"/>
              <c:tx>
                <c:rich>
                  <a:bodyPr/>
                  <a:lstStyle/>
                  <a:p>
                    <a:r>
                      <a:t>6.97</a:t>
                    </a:r>
                  </a:p>
                </c:rich>
              </c:tx>
              <c:showLegendKey val="0"/>
              <c:showVal val="1"/>
              <c:showCatName val="0"/>
              <c:showSerName val="0"/>
              <c:showPercent val="0"/>
              <c:showBubbleSize val="0"/>
            </c:dLbl>
            <c:dLbl>
              <c:idx val="17"/>
              <c:tx>
                <c:rich>
                  <a:bodyPr/>
                  <a:lstStyle/>
                  <a:p>
                    <a:r>
                      <a:t>9.98</a:t>
                    </a:r>
                  </a:p>
                </c:rich>
              </c:tx>
              <c:showLegendKey val="0"/>
              <c:showVal val="1"/>
              <c:showCatName val="0"/>
              <c:showSerName val="0"/>
              <c:showPercent val="0"/>
              <c:showBubbleSize val="0"/>
            </c:dLbl>
            <c:dLbl>
              <c:idx val="18"/>
              <c:tx>
                <c:rich>
                  <a:bodyPr/>
                  <a:lstStyle/>
                  <a:p>
                    <a:r>
                      <a:t>15.0</a:t>
                    </a:r>
                  </a:p>
                </c:rich>
              </c:tx>
              <c:showLegendKey val="0"/>
              <c:showVal val="1"/>
              <c:showCatName val="0"/>
              <c:showSerName val="0"/>
              <c:showPercent val="0"/>
              <c:showBubbleSize val="0"/>
            </c:dLbl>
            <c:dLbl>
              <c:idx val="19"/>
              <c:tx>
                <c:rich>
                  <a:bodyPr/>
                  <a:lstStyle/>
                  <a:p>
                    <a:r>
                      <a:t>6.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SCHICK XTREME 2 SENSITIVE 2 BLADE DISPOSABLE NORMAL 12CT</c:v>
                </c:pt>
                <c:pt idx="1">
                  <c:v>SCHICK XTREME 3 SENSITIVE GREEN 3 BLADE DISPOSABLE SENSITIVE 8CT</c:v>
                </c:pt>
                <c:pt idx="2">
                  <c:v>SCHICK XTREME 3 SENSITIVE GREEN BLACK 3 BLADE DISPOSABLE SENSITIVE 8CT</c:v>
                </c:pt>
                <c:pt idx="3">
                  <c:v>SCHICK XTREME 3 SENSITIVE GREEN BLACK 3 BLADE DISPOSABLE SENSITIVE 4CT</c:v>
                </c:pt>
                <c:pt idx="4">
                  <c:v>SCHICK XTREME 3 SENSITIVE GREEN BLACK 3 BLADE DISPOSABLE SENSITIVE 12CT</c:v>
                </c:pt>
                <c:pt idx="5">
                  <c:v>BIC SINGLE SENSITIVE 1 BLADE DISPOSABLE SENSITIVE 12CT</c:v>
                </c:pt>
                <c:pt idx="6">
                  <c:v>BIC FLEX 5 BLACK WHITE 5 BLADE DISPOSABLE NORMAL 2CT</c:v>
                </c:pt>
                <c:pt idx="7">
                  <c:v>BIC FLEX 5 5 BLADE DISPOSABLE NORMAL 4CT</c:v>
                </c:pt>
                <c:pt idx="8">
                  <c:v>BIC COMFORT 3 MULTI COLOR 3 BLADE DISPOSABLE SENSITIVE 4CT</c:v>
                </c:pt>
                <c:pt idx="9">
                  <c:v>BIC FLEX 4 4 BLADE DISPOSABLE SENSITIVE 3CT</c:v>
                </c:pt>
                <c:pt idx="10">
                  <c:v>EQUATE CALIBER 5 5 BLADE DISPOSABLE NORMAL 3CT</c:v>
                </c:pt>
                <c:pt idx="11">
                  <c:v>EQUATE TB (TWIN BLADE) BLUE 2 BLADE DISPOSABLE NORMAL 12CT</c:v>
                </c:pt>
                <c:pt idx="12">
                  <c:v>EQUATE SPEED 3 SENSITIVE GREEN 3 BLADE DISPOSABLE SENSITIVE 8CT</c:v>
                </c:pt>
                <c:pt idx="13">
                  <c:v>EQUATE SPEED 3 SENSITIVE GREEN 3 BLADE DISPOSABLE SENSITIVE 4CT</c:v>
                </c:pt>
                <c:pt idx="14">
                  <c:v>EQUATE CALIBER 3 3 BLADE DISPOSABLE NORMAL 3CT</c:v>
                </c:pt>
                <c:pt idx="15">
                  <c:v>GILLETTE SENSOR 2 FIXED 2 BLADE DISPOSABLE NORMAL 12CT</c:v>
                </c:pt>
                <c:pt idx="16">
                  <c:v>GILLETTE MACH 3 MULTI COLOR 3 BLADE DISPOSABLE SENSITIVE 3CT</c:v>
                </c:pt>
                <c:pt idx="17">
                  <c:v>GILLETTE SENSOR 2 PLUS PIVOT 2 BLADE DISPOSABLE NORMAL 10CT</c:v>
                </c:pt>
                <c:pt idx="18">
                  <c:v>GILLETTE SENSOR 2 FIXED 2 BLADE DISPOSABLE NORMAL 18CT</c:v>
                </c:pt>
                <c:pt idx="19">
                  <c:v>GILLETTE SENSOR 3 SENSITIVE GREEN 3 BLADE DISPOSABLE SENSITIVE 4CT</c:v>
                </c:pt>
              </c:strCache>
            </c:strRef>
          </c:cat>
          <c:val>
            <c:numRef>
              <c:f>Sheet1!$B$2:$B$21</c:f>
              <c:numCache>
                <c:formatCode>General</c:formatCode>
                <c:ptCount val="20"/>
                <c:pt idx="0">
                  <c:v>6.5</c:v>
                </c:pt>
                <c:pt idx="1">
                  <c:v>11.02</c:v>
                </c:pt>
                <c:pt idx="2">
                  <c:v>11.02</c:v>
                </c:pt>
                <c:pt idx="3">
                  <c:v>6.53</c:v>
                </c:pt>
                <c:pt idx="4">
                  <c:v>15.1</c:v>
                </c:pt>
                <c:pt idx="5">
                  <c:v>3.43</c:v>
                </c:pt>
                <c:pt idx="6">
                  <c:v>6.94</c:v>
                </c:pt>
                <c:pt idx="7">
                  <c:v>10.92</c:v>
                </c:pt>
                <c:pt idx="8">
                  <c:v>3.98</c:v>
                </c:pt>
                <c:pt idx="9">
                  <c:v>6.45</c:v>
                </c:pt>
                <c:pt idx="10">
                  <c:v>5.49</c:v>
                </c:pt>
                <c:pt idx="11">
                  <c:v>2.18</c:v>
                </c:pt>
                <c:pt idx="12">
                  <c:v>5.98</c:v>
                </c:pt>
                <c:pt idx="13">
                  <c:v>3.97</c:v>
                </c:pt>
                <c:pt idx="14">
                  <c:v>4.15</c:v>
                </c:pt>
                <c:pt idx="15">
                  <c:v>9.98</c:v>
                </c:pt>
                <c:pt idx="16">
                  <c:v>6.97</c:v>
                </c:pt>
                <c:pt idx="17">
                  <c:v>9.98</c:v>
                </c:pt>
                <c:pt idx="18">
                  <c:v>15.0</c:v>
                </c:pt>
                <c:pt idx="19">
                  <c:v>6.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9</a:t>
                    </a:r>
                  </a:p>
                </c:rich>
              </c:tx>
              <c:showLegendKey val="0"/>
              <c:showVal val="1"/>
              <c:showCatName val="0"/>
              <c:showSerName val="0"/>
              <c:showPercent val="0"/>
              <c:showBubbleSize val="0"/>
            </c:dLbl>
            <c:dLbl>
              <c:idx val="1"/>
              <c:tx>
                <c:rich>
                  <a:bodyPr/>
                  <a:lstStyle/>
                  <a:p>
                    <a:r>
                      <a:t>11.67</a:t>
                    </a:r>
                  </a:p>
                </c:rich>
              </c:tx>
              <c:showLegendKey val="0"/>
              <c:showVal val="1"/>
              <c:showCatName val="0"/>
              <c:showSerName val="0"/>
              <c:showPercent val="0"/>
              <c:showBubbleSize val="0"/>
            </c:dLbl>
            <c:dLbl>
              <c:idx val="2"/>
              <c:tx>
                <c:rich>
                  <a:bodyPr/>
                  <a:lstStyle/>
                  <a:p>
                    <a:r>
                      <a:t>38.77</a:t>
                    </a:r>
                  </a:p>
                </c:rich>
              </c:tx>
              <c:showLegendKey val="0"/>
              <c:showVal val="1"/>
              <c:showCatName val="0"/>
              <c:showSerName val="0"/>
              <c:showPercent val="0"/>
              <c:showBubbleSize val="0"/>
            </c:dLbl>
            <c:dLbl>
              <c:idx val="3"/>
              <c:tx>
                <c:rich>
                  <a:bodyPr/>
                  <a:lstStyle/>
                  <a:p>
                    <a:r>
                      <a:t>12.0</a:t>
                    </a:r>
                  </a:p>
                </c:rich>
              </c:tx>
              <c:showLegendKey val="0"/>
              <c:showVal val="1"/>
              <c:showCatName val="0"/>
              <c:showSerName val="0"/>
              <c:showPercent val="0"/>
              <c:showBubbleSize val="0"/>
            </c:dLbl>
            <c:dLbl>
              <c:idx val="4"/>
              <c:tx>
                <c:rich>
                  <a:bodyPr/>
                  <a:lstStyle/>
                  <a:p>
                    <a:r>
                      <a:t>12.71</a:t>
                    </a:r>
                  </a:p>
                </c:rich>
              </c:tx>
              <c:showLegendKey val="0"/>
              <c:showVal val="1"/>
              <c:showCatName val="0"/>
              <c:showSerName val="0"/>
              <c:showPercent val="0"/>
              <c:showBubbleSize val="0"/>
            </c:dLbl>
            <c:dLbl>
              <c:idx val="5"/>
              <c:tx>
                <c:rich>
                  <a:bodyPr/>
                  <a:lstStyle/>
                  <a:p>
                    <a:r>
                      <a:t>16.3</a:t>
                    </a:r>
                  </a:p>
                </c:rich>
              </c:tx>
              <c:showLegendKey val="0"/>
              <c:showVal val="1"/>
              <c:showCatName val="0"/>
              <c:showSerName val="0"/>
              <c:showPercent val="0"/>
              <c:showBubbleSize val="0"/>
            </c:dLbl>
            <c:dLbl>
              <c:idx val="6"/>
              <c:tx>
                <c:rich>
                  <a:bodyPr/>
                  <a:lstStyle/>
                  <a:p>
                    <a:r>
                      <a:t>18.77</a:t>
                    </a:r>
                  </a:p>
                </c:rich>
              </c:tx>
              <c:showLegendKey val="0"/>
              <c:showVal val="1"/>
              <c:showCatName val="0"/>
              <c:showSerName val="0"/>
              <c:showPercent val="0"/>
              <c:showBubbleSize val="0"/>
            </c:dLbl>
            <c:dLbl>
              <c:idx val="7"/>
              <c:tx>
                <c:rich>
                  <a:bodyPr/>
                  <a:lstStyle/>
                  <a:p>
                    <a:r>
                      <a:t>10.63</a:t>
                    </a:r>
                  </a:p>
                </c:rich>
              </c:tx>
              <c:showLegendKey val="0"/>
              <c:showVal val="1"/>
              <c:showCatName val="0"/>
              <c:showSerName val="0"/>
              <c:showPercent val="0"/>
              <c:showBubbleSize val="0"/>
            </c:dLbl>
            <c:dLbl>
              <c:idx val="8"/>
              <c:tx>
                <c:rich>
                  <a:bodyPr/>
                  <a:lstStyle/>
                  <a:p>
                    <a:r>
                      <a:t>12.12</a:t>
                    </a:r>
                  </a:p>
                </c:rich>
              </c:tx>
              <c:showLegendKey val="0"/>
              <c:showVal val="1"/>
              <c:showCatName val="0"/>
              <c:showSerName val="0"/>
              <c:showPercent val="0"/>
              <c:showBubbleSize val="0"/>
            </c:dLbl>
            <c:dLbl>
              <c:idx val="9"/>
              <c:tx>
                <c:rich>
                  <a:bodyPr/>
                  <a:lstStyle/>
                  <a:p>
                    <a:r>
                      <a:t>9.99</a:t>
                    </a:r>
                  </a:p>
                </c:rich>
              </c:tx>
              <c:showLegendKey val="0"/>
              <c:showVal val="1"/>
              <c:showCatName val="0"/>
              <c:showSerName val="0"/>
              <c:showPercent val="0"/>
              <c:showBubbleSize val="0"/>
            </c:dLbl>
            <c:dLbl>
              <c:idx val="10"/>
              <c:tx>
                <c:rich>
                  <a:bodyPr/>
                  <a:lstStyle/>
                  <a:p>
                    <a:r>
                      <a:t>9.79</a:t>
                    </a:r>
                  </a:p>
                </c:rich>
              </c:tx>
              <c:showLegendKey val="0"/>
              <c:showVal val="1"/>
              <c:showCatName val="0"/>
              <c:showSerName val="0"/>
              <c:showPercent val="0"/>
              <c:showBubbleSize val="0"/>
            </c:dLbl>
            <c:dLbl>
              <c:idx val="11"/>
              <c:tx>
                <c:rich>
                  <a:bodyPr/>
                  <a:lstStyle/>
                  <a:p>
                    <a:r>
                      <a:t>13.7</a:t>
                    </a:r>
                  </a:p>
                </c:rich>
              </c:tx>
              <c:showLegendKey val="0"/>
              <c:showVal val="1"/>
              <c:showCatName val="0"/>
              <c:showSerName val="0"/>
              <c:showPercent val="0"/>
              <c:showBubbleSize val="0"/>
            </c:dLbl>
            <c:dLbl>
              <c:idx val="12"/>
              <c:tx>
                <c:rich>
                  <a:bodyPr/>
                  <a:lstStyle/>
                  <a:p>
                    <a:r>
                      <a:t>24.45</a:t>
                    </a:r>
                  </a:p>
                </c:rich>
              </c:tx>
              <c:showLegendKey val="0"/>
              <c:showVal val="1"/>
              <c:showCatName val="0"/>
              <c:showSerName val="0"/>
              <c:showPercent val="0"/>
              <c:showBubbleSize val="0"/>
            </c:dLbl>
            <c:dLbl>
              <c:idx val="13"/>
              <c:tx>
                <c:rich>
                  <a:bodyPr/>
                  <a:lstStyle/>
                  <a:p>
                    <a:r>
                      <a:t>21.35</a:t>
                    </a:r>
                  </a:p>
                </c:rich>
              </c:tx>
              <c:showLegendKey val="0"/>
              <c:showVal val="1"/>
              <c:showCatName val="0"/>
              <c:showSerName val="0"/>
              <c:showPercent val="0"/>
              <c:showBubbleSize val="0"/>
            </c:dLbl>
            <c:dLbl>
              <c:idx val="14"/>
              <c:tx>
                <c:rich>
                  <a:bodyPr/>
                  <a:lstStyle/>
                  <a:p>
                    <a:r>
                      <a:t>10.38</a:t>
                    </a:r>
                  </a:p>
                </c:rich>
              </c:tx>
              <c:showLegendKey val="0"/>
              <c:showVal val="1"/>
              <c:showCatName val="0"/>
              <c:showSerName val="0"/>
              <c:showPercent val="0"/>
              <c:showBubbleSize val="0"/>
            </c:dLbl>
            <c:dLbl>
              <c:idx val="15"/>
              <c:tx>
                <c:rich>
                  <a:bodyPr/>
                  <a:lstStyle/>
                  <a:p>
                    <a:r>
                      <a:t>12.3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HYDRO 5 SENSITIVE 5 BLADE RAZOR SENSITIVE 3CT</c:v>
                </c:pt>
                <c:pt idx="1">
                  <c:v>HYDRO 5 DRY SKIN 5 BLADE RAZOR DRY 3CT</c:v>
                </c:pt>
                <c:pt idx="2">
                  <c:v>HYDRO 5 SENSITIVE 5 BLADE RAZOR SENSITIVE 17CT</c:v>
                </c:pt>
                <c:pt idx="3">
                  <c:v>SCHICK QUATTRO FOR MEN 4 BLADE RAZOR NORMAL 4CT</c:v>
                </c:pt>
                <c:pt idx="4">
                  <c:v>SCHICK HYDRO 3 SENSITIVE 3 BLADE RAZOR SENSITIVE 4CT</c:v>
                </c:pt>
                <c:pt idx="5">
                  <c:v>HARRY'S ORANGE 5 BLADE RAZOR NORMAL 5CT</c:v>
                </c:pt>
                <c:pt idx="6">
                  <c:v>HARRY'S SILVER 5 BLADE RAZOR NORMAL 5CT</c:v>
                </c:pt>
                <c:pt idx="7">
                  <c:v>HARRY'S NAVY BLUE 5 BLADE RAZOR NORMAL 2CT</c:v>
                </c:pt>
                <c:pt idx="8">
                  <c:v>HARRY'S SILVER 5 BLADE RAZOR NORMAL 2CT</c:v>
                </c:pt>
                <c:pt idx="9">
                  <c:v>HARRY'S SURF BLUE 5 BLADE RAZOR NORMAL 2CT</c:v>
                </c:pt>
                <c:pt idx="10">
                  <c:v>BARBASOL ULTRA 6 PLUS GRAY 6 BLADE RAZOR NORMAL 2CT</c:v>
                </c:pt>
                <c:pt idx="11">
                  <c:v>GILLETTE FUSION 5 5 BLADE RAZOR NORMAL 2CT</c:v>
                </c:pt>
                <c:pt idx="12">
                  <c:v>GILLETTE FUSION 5 5 BLADE RAZOR NORMAL 5CT</c:v>
                </c:pt>
                <c:pt idx="13">
                  <c:v>GILLETTE MACH 3 3 BLADE RAZOR NORMAL 6CT</c:v>
                </c:pt>
                <c:pt idx="14">
                  <c:v>GILLETTE MACH 3 3 BLADE RAZOR NORMAL 2CT</c:v>
                </c:pt>
                <c:pt idx="15">
                  <c:v>GILLETTE FUSION 5 5 BLADE RAZOR NORMAL 1CT</c:v>
                </c:pt>
              </c:strCache>
            </c:strRef>
          </c:cat>
          <c:val>
            <c:numRef>
              <c:f>Sheet1!$B$2:$B$17</c:f>
              <c:numCache>
                <c:formatCode>General</c:formatCode>
                <c:ptCount val="16"/>
                <c:pt idx="0">
                  <c:v>10.59</c:v>
                </c:pt>
                <c:pt idx="1">
                  <c:v>11.67</c:v>
                </c:pt>
                <c:pt idx="2">
                  <c:v>38.77</c:v>
                </c:pt>
                <c:pt idx="3">
                  <c:v>12.0</c:v>
                </c:pt>
                <c:pt idx="4">
                  <c:v>12.71</c:v>
                </c:pt>
                <c:pt idx="5">
                  <c:v>16.3</c:v>
                </c:pt>
                <c:pt idx="6">
                  <c:v>18.77</c:v>
                </c:pt>
                <c:pt idx="7">
                  <c:v>10.63</c:v>
                </c:pt>
                <c:pt idx="8">
                  <c:v>12.12</c:v>
                </c:pt>
                <c:pt idx="9">
                  <c:v>9.99</c:v>
                </c:pt>
                <c:pt idx="10">
                  <c:v>9.79</c:v>
                </c:pt>
                <c:pt idx="11">
                  <c:v>13.7</c:v>
                </c:pt>
                <c:pt idx="12">
                  <c:v>24.45</c:v>
                </c:pt>
                <c:pt idx="13">
                  <c:v>21.35</c:v>
                </c:pt>
                <c:pt idx="14">
                  <c:v>10.38</c:v>
                </c:pt>
                <c:pt idx="15">
                  <c:v>12.3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6.85</a:t>
                    </a:r>
                  </a:p>
                </c:rich>
              </c:tx>
              <c:dLblPos val="t"/>
              <c:showLegendKey val="0"/>
              <c:showVal val="1"/>
              <c:showCatName val="0"/>
              <c:showSerName val="0"/>
              <c:showPercent val="0"/>
              <c:showBubbleSize val="0"/>
            </c:dLbl>
            <c:dLbl>
              <c:idx val="1"/>
              <c:tx>
                <c:rich>
                  <a:bodyPr/>
                  <a:lstStyle/>
                  <a:p>
                    <a:r>
                      <a:t>14.9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EMO 5 BLADE RAZOR NORMAL 2CT</c:v>
                </c:pt>
                <c:pt idx="1">
                  <c:v>CREMO 5 BLADE REFILL NORMAL 4CT</c:v>
                </c:pt>
              </c:strCache>
            </c:strRef>
          </c:cat>
          <c:val>
            <c:numRef>
              <c:f>Sheet1!$B$2:$B$3</c:f>
              <c:numCache>
                <c:formatCode>General</c:formatCode>
                <c:ptCount val="2"/>
                <c:pt idx="0">
                  <c:v>16.85</c:v>
                </c:pt>
                <c:pt idx="1">
                  <c:v>14.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6</a:t>
                    </a:r>
                  </a:p>
                </c:rich>
              </c:tx>
              <c:showLegendKey val="0"/>
              <c:showVal val="1"/>
              <c:showCatName val="0"/>
              <c:showSerName val="0"/>
              <c:showPercent val="0"/>
              <c:showBubbleSize val="0"/>
            </c:dLbl>
            <c:dLbl>
              <c:idx val="1"/>
              <c:tx>
                <c:rich>
                  <a:bodyPr/>
                  <a:lstStyle/>
                  <a:p>
                    <a:r>
                      <a:t>16.85</a:t>
                    </a:r>
                  </a:p>
                </c:rich>
              </c:tx>
              <c:showLegendKey val="0"/>
              <c:showVal val="1"/>
              <c:showCatName val="0"/>
              <c:showSerName val="0"/>
              <c:showPercent val="0"/>
              <c:showBubbleSize val="0"/>
            </c:dLbl>
            <c:dLbl>
              <c:idx val="2"/>
              <c:tx>
                <c:rich>
                  <a:bodyPr/>
                  <a:lstStyle/>
                  <a:p>
                    <a:r>
                      <a:t>9.99</a:t>
                    </a:r>
                  </a:p>
                </c:rich>
              </c:tx>
              <c:showLegendKey val="0"/>
              <c:showVal val="1"/>
              <c:showCatName val="0"/>
              <c:showSerName val="0"/>
              <c:showPercent val="0"/>
              <c:showBubbleSize val="0"/>
            </c:dLbl>
            <c:dLbl>
              <c:idx val="3"/>
              <c:tx>
                <c:rich>
                  <a:bodyPr/>
                  <a:lstStyle/>
                  <a:p>
                    <a:r>
                      <a:t>9.94</a:t>
                    </a:r>
                  </a:p>
                </c:rich>
              </c:tx>
              <c:showLegendKey val="0"/>
              <c:showVal val="1"/>
              <c:showCatName val="0"/>
              <c:showSerName val="0"/>
              <c:showPercent val="0"/>
              <c:showBubbleSize val="0"/>
            </c:dLbl>
            <c:dLbl>
              <c:idx val="4"/>
              <c:tx>
                <c:rich>
                  <a:bodyPr/>
                  <a:lstStyle/>
                  <a:p>
                    <a:r>
                      <a:t>16.01</a:t>
                    </a:r>
                  </a:p>
                </c:rich>
              </c:tx>
              <c:showLegendKey val="0"/>
              <c:showVal val="1"/>
              <c:showCatName val="0"/>
              <c:showSerName val="0"/>
              <c:showPercent val="0"/>
              <c:showBubbleSize val="0"/>
            </c:dLbl>
            <c:dLbl>
              <c:idx val="5"/>
              <c:tx>
                <c:rich>
                  <a:bodyPr/>
                  <a:lstStyle/>
                  <a:p>
                    <a:r>
                      <a:t>9.99</a:t>
                    </a:r>
                  </a:p>
                </c:rich>
              </c:tx>
              <c:showLegendKey val="0"/>
              <c:showVal val="1"/>
              <c:showCatName val="0"/>
              <c:showSerName val="0"/>
              <c:showPercent val="0"/>
              <c:showBubbleSize val="0"/>
            </c:dLbl>
            <c:dLbl>
              <c:idx val="6"/>
              <c:tx>
                <c:rich>
                  <a:bodyPr/>
                  <a:lstStyle/>
                  <a:p>
                    <a:r>
                      <a:t>17.92</a:t>
                    </a:r>
                  </a:p>
                </c:rich>
              </c:tx>
              <c:showLegendKey val="0"/>
              <c:showVal val="1"/>
              <c:showCatName val="0"/>
              <c:showSerName val="0"/>
              <c:showPercent val="0"/>
              <c:showBubbleSize val="0"/>
            </c:dLbl>
            <c:dLbl>
              <c:idx val="7"/>
              <c:tx>
                <c:rich>
                  <a:bodyPr/>
                  <a:lstStyle/>
                  <a:p>
                    <a:r>
                      <a:t>11.97</a:t>
                    </a:r>
                  </a:p>
                </c:rich>
              </c:tx>
              <c:showLegendKey val="0"/>
              <c:showVal val="1"/>
              <c:showCatName val="0"/>
              <c:showSerName val="0"/>
              <c:showPercent val="0"/>
              <c:showBubbleSize val="0"/>
            </c:dLbl>
            <c:dLbl>
              <c:idx val="8"/>
              <c:tx>
                <c:rich>
                  <a:bodyPr/>
                  <a:lstStyle/>
                  <a:p>
                    <a:r>
                      <a:t>14.99</a:t>
                    </a:r>
                  </a:p>
                </c:rich>
              </c:tx>
              <c:showLegendKey val="0"/>
              <c:showVal val="1"/>
              <c:showCatName val="0"/>
              <c:showSerName val="0"/>
              <c:showPercent val="0"/>
              <c:showBubbleSize val="0"/>
            </c:dLbl>
            <c:dLbl>
              <c:idx val="9"/>
              <c:tx>
                <c:rich>
                  <a:bodyPr/>
                  <a:lstStyle/>
                  <a:p>
                    <a:r>
                      <a:t>23.89</a:t>
                    </a:r>
                  </a:p>
                </c:rich>
              </c:tx>
              <c:showLegendKey val="0"/>
              <c:showVal val="1"/>
              <c:showCatName val="0"/>
              <c:showSerName val="0"/>
              <c:showPercent val="0"/>
              <c:showBubbleSize val="0"/>
            </c:dLbl>
            <c:dLbl>
              <c:idx val="10"/>
              <c:tx>
                <c:rich>
                  <a:bodyPr/>
                  <a:lstStyle/>
                  <a:p>
                    <a:r>
                      <a:t>13.47</a:t>
                    </a:r>
                  </a:p>
                </c:rich>
              </c:tx>
              <c:showLegendKey val="0"/>
              <c:showVal val="1"/>
              <c:showCatName val="0"/>
              <c:showSerName val="0"/>
              <c:showPercent val="0"/>
              <c:showBubbleSize val="0"/>
            </c:dLbl>
            <c:dLbl>
              <c:idx val="11"/>
              <c:tx>
                <c:rich>
                  <a:bodyPr/>
                  <a:lstStyle/>
                  <a:p>
                    <a:r>
                      <a:t>20.81</a:t>
                    </a:r>
                  </a:p>
                </c:rich>
              </c:tx>
              <c:showLegendKey val="0"/>
              <c:showVal val="1"/>
              <c:showCatName val="0"/>
              <c:showSerName val="0"/>
              <c:showPercent val="0"/>
              <c:showBubbleSize val="0"/>
            </c:dLbl>
            <c:dLbl>
              <c:idx val="12"/>
              <c:tx>
                <c:rich>
                  <a:bodyPr/>
                  <a:lstStyle/>
                  <a:p>
                    <a:r>
                      <a:t>10.12</a:t>
                    </a:r>
                  </a:p>
                </c:rich>
              </c:tx>
              <c:showLegendKey val="0"/>
              <c:showVal val="1"/>
              <c:showCatName val="0"/>
              <c:showSerName val="0"/>
              <c:showPercent val="0"/>
              <c:showBubbleSize val="0"/>
            </c:dLbl>
            <c:dLbl>
              <c:idx val="13"/>
              <c:tx>
                <c:rich>
                  <a:bodyPr/>
                  <a:lstStyle/>
                  <a:p>
                    <a:r>
                      <a:t>29.18</a:t>
                    </a:r>
                  </a:p>
                </c:rich>
              </c:tx>
              <c:showLegendKey val="0"/>
              <c:showVal val="1"/>
              <c:showCatName val="0"/>
              <c:showSerName val="0"/>
              <c:showPercent val="0"/>
              <c:showBubbleSize val="0"/>
            </c:dLbl>
            <c:dLbl>
              <c:idx val="14"/>
              <c:tx>
                <c:rich>
                  <a:bodyPr/>
                  <a:lstStyle/>
                  <a:p>
                    <a:r>
                      <a:t>8.97</a:t>
                    </a:r>
                  </a:p>
                </c:rich>
              </c:tx>
              <c:showLegendKey val="0"/>
              <c:showVal val="1"/>
              <c:showCatName val="0"/>
              <c:showSerName val="0"/>
              <c:showPercent val="0"/>
              <c:showBubbleSize val="0"/>
            </c:dLbl>
            <c:dLbl>
              <c:idx val="15"/>
              <c:tx>
                <c:rich>
                  <a:bodyPr/>
                  <a:lstStyle/>
                  <a:p>
                    <a:r>
                      <a:t>9.0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HYDRO 5 SENSITIVE 5 BLADE RAZOR SENSITIVE 3CT</c:v>
                </c:pt>
                <c:pt idx="1">
                  <c:v>CREMO 5 BLADE RAZOR NORMAL 2CT</c:v>
                </c:pt>
                <c:pt idx="2">
                  <c:v>HYDRO 5 SENSITIVE GRAY HOLIDAY GIFT PACK 5 BLADE RAZOR SENSITIVE 3CT</c:v>
                </c:pt>
                <c:pt idx="3">
                  <c:v>SCHICK HYDRO 3 SENSITIVE 3 BLADE RAZOR SENSITIVE 4CT</c:v>
                </c:pt>
                <c:pt idx="4">
                  <c:v>HARRY'S ORANGE 5 BLADE RAZOR NORMAL 5CT</c:v>
                </c:pt>
                <c:pt idx="5">
                  <c:v>HARRY'S SURF BLUE 5 BLADE RAZOR NORMAL 2CT</c:v>
                </c:pt>
                <c:pt idx="6">
                  <c:v>HARRY'S SILVER 5 BLADE RAZOR NORMAL 5CT</c:v>
                </c:pt>
                <c:pt idx="7">
                  <c:v>HARRY'S SILVER 5 BLADE RAZOR NORMAL 2CT</c:v>
                </c:pt>
                <c:pt idx="8">
                  <c:v>HARRY'S CRAFT HANDLE SILVER 5 BLADE RAZOR NORMAL 2CT</c:v>
                </c:pt>
                <c:pt idx="9">
                  <c:v>GILLETTE FUSION 5 5 BLADE RAZOR NORMAL 5CT</c:v>
                </c:pt>
                <c:pt idx="10">
                  <c:v>GILLETTE FUSION 5 5 BLADE RAZOR NORMAL 2CT</c:v>
                </c:pt>
                <c:pt idx="11">
                  <c:v>GILLETTE MACH 3 3 BLADE RAZOR NORMAL 6CT</c:v>
                </c:pt>
                <c:pt idx="12">
                  <c:v>GILLETTE MACH 3 3 BLADE RAZOR NORMAL 2CT</c:v>
                </c:pt>
                <c:pt idx="13">
                  <c:v>GILLETTE FUSION 5 5 BLADE RAZOR NORMAL 7CT</c:v>
                </c:pt>
                <c:pt idx="14">
                  <c:v>DOLLAR SHAVE CLUB BLACK 6 BLADE RAZOR NORMAL 2CT</c:v>
                </c:pt>
                <c:pt idx="15">
                  <c:v>DOLLAR SHAVE CLUB RED BLUE WHITE 6 BLADE RAZOR NORMAL 2CT</c:v>
                </c:pt>
              </c:strCache>
            </c:strRef>
          </c:cat>
          <c:val>
            <c:numRef>
              <c:f>Sheet1!$B$2:$B$17</c:f>
              <c:numCache>
                <c:formatCode>General</c:formatCode>
                <c:ptCount val="16"/>
                <c:pt idx="0">
                  <c:v>9.96</c:v>
                </c:pt>
                <c:pt idx="1">
                  <c:v>16.85</c:v>
                </c:pt>
                <c:pt idx="2">
                  <c:v>9.99</c:v>
                </c:pt>
                <c:pt idx="3">
                  <c:v>9.94</c:v>
                </c:pt>
                <c:pt idx="4">
                  <c:v>16.01</c:v>
                </c:pt>
                <c:pt idx="5">
                  <c:v>9.99</c:v>
                </c:pt>
                <c:pt idx="6">
                  <c:v>17.92</c:v>
                </c:pt>
                <c:pt idx="7">
                  <c:v>11.97</c:v>
                </c:pt>
                <c:pt idx="8">
                  <c:v>14.99</c:v>
                </c:pt>
                <c:pt idx="9">
                  <c:v>23.89</c:v>
                </c:pt>
                <c:pt idx="10">
                  <c:v>13.47</c:v>
                </c:pt>
                <c:pt idx="11">
                  <c:v>20.81</c:v>
                </c:pt>
                <c:pt idx="12">
                  <c:v>10.12</c:v>
                </c:pt>
                <c:pt idx="13">
                  <c:v>29.18</c:v>
                </c:pt>
                <c:pt idx="14">
                  <c:v>8.97</c:v>
                </c:pt>
                <c:pt idx="15">
                  <c:v>9.0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5.22</a:t>
                    </a:r>
                  </a:p>
                </c:rich>
              </c:tx>
              <c:showLegendKey val="0"/>
              <c:showVal val="1"/>
              <c:showCatName val="0"/>
              <c:showSerName val="0"/>
              <c:showPercent val="0"/>
              <c:showBubbleSize val="0"/>
            </c:dLbl>
            <c:dLbl>
              <c:idx val="1"/>
              <c:tx>
                <c:rich>
                  <a:bodyPr/>
                  <a:lstStyle/>
                  <a:p>
                    <a:r>
                      <a:t>26.91</a:t>
                    </a:r>
                  </a:p>
                </c:rich>
              </c:tx>
              <c:showLegendKey val="0"/>
              <c:showVal val="1"/>
              <c:showCatName val="0"/>
              <c:showSerName val="0"/>
              <c:showPercent val="0"/>
              <c:showBubbleSize val="0"/>
            </c:dLbl>
            <c:dLbl>
              <c:idx val="2"/>
              <c:tx>
                <c:rich>
                  <a:bodyPr/>
                  <a:lstStyle/>
                  <a:p>
                    <a:r>
                      <a:t>16.88</a:t>
                    </a:r>
                  </a:p>
                </c:rich>
              </c:tx>
              <c:showLegendKey val="0"/>
              <c:showVal val="1"/>
              <c:showCatName val="0"/>
              <c:showSerName val="0"/>
              <c:showPercent val="0"/>
              <c:showBubbleSize val="0"/>
            </c:dLbl>
            <c:dLbl>
              <c:idx val="3"/>
              <c:tx>
                <c:rich>
                  <a:bodyPr/>
                  <a:lstStyle/>
                  <a:p>
                    <a:r>
                      <a:t>13.58</a:t>
                    </a:r>
                  </a:p>
                </c:rich>
              </c:tx>
              <c:showLegendKey val="0"/>
              <c:showVal val="1"/>
              <c:showCatName val="0"/>
              <c:showSerName val="0"/>
              <c:showPercent val="0"/>
              <c:showBubbleSize val="0"/>
            </c:dLbl>
            <c:dLbl>
              <c:idx val="4"/>
              <c:tx>
                <c:rich>
                  <a:bodyPr/>
                  <a:lstStyle/>
                  <a:p>
                    <a:r>
                      <a:t>23.94</a:t>
                    </a:r>
                  </a:p>
                </c:rich>
              </c:tx>
              <c:showLegendKey val="0"/>
              <c:showVal val="1"/>
              <c:showCatName val="0"/>
              <c:showSerName val="0"/>
              <c:showPercent val="0"/>
              <c:showBubbleSize val="0"/>
            </c:dLbl>
            <c:dLbl>
              <c:idx val="5"/>
              <c:tx>
                <c:rich>
                  <a:bodyPr/>
                  <a:lstStyle/>
                  <a:p>
                    <a:r>
                      <a:t>10.19</a:t>
                    </a:r>
                  </a:p>
                </c:rich>
              </c:tx>
              <c:showLegendKey val="0"/>
              <c:showVal val="1"/>
              <c:showCatName val="0"/>
              <c:showSerName val="0"/>
              <c:showPercent val="0"/>
              <c:showBubbleSize val="0"/>
            </c:dLbl>
            <c:dLbl>
              <c:idx val="6"/>
              <c:tx>
                <c:rich>
                  <a:bodyPr/>
                  <a:lstStyle/>
                  <a:p>
                    <a:r>
                      <a:t>17.2</a:t>
                    </a:r>
                  </a:p>
                </c:rich>
              </c:tx>
              <c:showLegendKey val="0"/>
              <c:showVal val="1"/>
              <c:showCatName val="0"/>
              <c:showSerName val="0"/>
              <c:showPercent val="0"/>
              <c:showBubbleSize val="0"/>
            </c:dLbl>
            <c:dLbl>
              <c:idx val="7"/>
              <c:tx>
                <c:rich>
                  <a:bodyPr/>
                  <a:lstStyle/>
                  <a:p>
                    <a:r>
                      <a:t>24.64</a:t>
                    </a:r>
                  </a:p>
                </c:rich>
              </c:tx>
              <c:showLegendKey val="0"/>
              <c:showVal val="1"/>
              <c:showCatName val="0"/>
              <c:showSerName val="0"/>
              <c:showPercent val="0"/>
              <c:showBubbleSize val="0"/>
            </c:dLbl>
            <c:dLbl>
              <c:idx val="8"/>
              <c:tx>
                <c:rich>
                  <a:bodyPr/>
                  <a:lstStyle/>
                  <a:p>
                    <a:r>
                      <a:t>9.7</a:t>
                    </a:r>
                  </a:p>
                </c:rich>
              </c:tx>
              <c:showLegendKey val="0"/>
              <c:showVal val="1"/>
              <c:showCatName val="0"/>
              <c:showSerName val="0"/>
              <c:showPercent val="0"/>
              <c:showBubbleSize val="0"/>
            </c:dLbl>
            <c:dLbl>
              <c:idx val="9"/>
              <c:tx>
                <c:rich>
                  <a:bodyPr/>
                  <a:lstStyle/>
                  <a:p>
                    <a:r>
                      <a:t>19.45</a:t>
                    </a:r>
                  </a:p>
                </c:rich>
              </c:tx>
              <c:showLegendKey val="0"/>
              <c:showVal val="1"/>
              <c:showCatName val="0"/>
              <c:showSerName val="0"/>
              <c:showPercent val="0"/>
              <c:showBubbleSize val="0"/>
            </c:dLbl>
            <c:dLbl>
              <c:idx val="10"/>
              <c:tx>
                <c:rich>
                  <a:bodyPr/>
                  <a:lstStyle/>
                  <a:p>
                    <a:r>
                      <a:t>42.25</a:t>
                    </a:r>
                  </a:p>
                </c:rich>
              </c:tx>
              <c:showLegendKey val="0"/>
              <c:showVal val="1"/>
              <c:showCatName val="0"/>
              <c:showSerName val="0"/>
              <c:showPercent val="0"/>
              <c:showBubbleSize val="0"/>
            </c:dLbl>
            <c:dLbl>
              <c:idx val="11"/>
              <c:tx>
                <c:rich>
                  <a:bodyPr/>
                  <a:lstStyle/>
                  <a:p>
                    <a:r>
                      <a:t>13.06</a:t>
                    </a:r>
                  </a:p>
                </c:rich>
              </c:tx>
              <c:showLegendKey val="0"/>
              <c:showVal val="1"/>
              <c:showCatName val="0"/>
              <c:showSerName val="0"/>
              <c:showPercent val="0"/>
              <c:showBubbleSize val="0"/>
            </c:dLbl>
            <c:dLbl>
              <c:idx val="12"/>
              <c:tx>
                <c:rich>
                  <a:bodyPr/>
                  <a:lstStyle/>
                  <a:p>
                    <a:r>
                      <a:t>32.12</a:t>
                    </a:r>
                  </a:p>
                </c:rich>
              </c:tx>
              <c:showLegendKey val="0"/>
              <c:showVal val="1"/>
              <c:showCatName val="0"/>
              <c:showSerName val="0"/>
              <c:showPercent val="0"/>
              <c:showBubbleSize val="0"/>
            </c:dLbl>
            <c:dLbl>
              <c:idx val="13"/>
              <c:tx>
                <c:rich>
                  <a:bodyPr/>
                  <a:lstStyle/>
                  <a:p>
                    <a:r>
                      <a:t>42.0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HYDRO 5 SENSITIVE 5 BLADE REFILL SENSITIVE 6CT</c:v>
                </c:pt>
                <c:pt idx="1">
                  <c:v>HYDRO 5 SENSITIVE 5 BLADE REFILL SENSITIVE 12CT</c:v>
                </c:pt>
                <c:pt idx="2">
                  <c:v>HYDRO 5 DRY SKIN 5 BLADE REFILL DRY 6CT</c:v>
                </c:pt>
                <c:pt idx="3">
                  <c:v>SCHICK QUATTRO FOR MEN 4 BLADE REFILL NORMAL 8CT</c:v>
                </c:pt>
                <c:pt idx="4">
                  <c:v>SCHICK HYDRO STUBBLE ERASER 5 BLADE REFILL NORMAL 12CT</c:v>
                </c:pt>
                <c:pt idx="5">
                  <c:v>HARRY'S 5 BLADE REFILL NORMAL 4CT</c:v>
                </c:pt>
                <c:pt idx="6">
                  <c:v>HARRY'S 5 BLADE REFILL NORMAL 8CT</c:v>
                </c:pt>
                <c:pt idx="7">
                  <c:v>HARRY'S 5 BLADE REFILL NORMAL 12CT</c:v>
                </c:pt>
                <c:pt idx="8">
                  <c:v>BARBASOL ULTRA 6 PLUS 6 BLADE REFILL NORMAL 4CT</c:v>
                </c:pt>
                <c:pt idx="9">
                  <c:v>GILLETTE FUSION 5 5 BLADE REFILL NORMAL 4CT</c:v>
                </c:pt>
                <c:pt idx="10">
                  <c:v>GILLETTE FUSION 5 5 BLADE REFILL NORMAL 16CT</c:v>
                </c:pt>
                <c:pt idx="11">
                  <c:v>GILLETTE MACH 3 3 BLADE REFILL NORMAL 4CT</c:v>
                </c:pt>
                <c:pt idx="12">
                  <c:v>GILLETTE FUSION 5 5 BLADE REFILL NORMAL 8CT</c:v>
                </c:pt>
                <c:pt idx="13">
                  <c:v>GILLETTE FUSION 5 5 BLADE REFILL NORMAL 12CT</c:v>
                </c:pt>
              </c:strCache>
            </c:strRef>
          </c:cat>
          <c:val>
            <c:numRef>
              <c:f>Sheet1!$B$2:$B$15</c:f>
              <c:numCache>
                <c:formatCode>General</c:formatCode>
                <c:ptCount val="14"/>
                <c:pt idx="0">
                  <c:v>15.22</c:v>
                </c:pt>
                <c:pt idx="1">
                  <c:v>26.91</c:v>
                </c:pt>
                <c:pt idx="2">
                  <c:v>16.88</c:v>
                </c:pt>
                <c:pt idx="3">
                  <c:v>13.58</c:v>
                </c:pt>
                <c:pt idx="4">
                  <c:v>23.94</c:v>
                </c:pt>
                <c:pt idx="5">
                  <c:v>10.19</c:v>
                </c:pt>
                <c:pt idx="6">
                  <c:v>17.2</c:v>
                </c:pt>
                <c:pt idx="7">
                  <c:v>24.64</c:v>
                </c:pt>
                <c:pt idx="8">
                  <c:v>9.7</c:v>
                </c:pt>
                <c:pt idx="9">
                  <c:v>19.45</c:v>
                </c:pt>
                <c:pt idx="10">
                  <c:v>42.25</c:v>
                </c:pt>
                <c:pt idx="11">
                  <c:v>13.06</c:v>
                </c:pt>
                <c:pt idx="12">
                  <c:v>32.12</c:v>
                </c:pt>
                <c:pt idx="13">
                  <c:v>42.0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73</a:t>
                    </a:r>
                  </a:p>
                </c:rich>
              </c:tx>
              <c:showLegendKey val="0"/>
              <c:showVal val="1"/>
              <c:showCatName val="0"/>
              <c:showSerName val="0"/>
              <c:showPercent val="0"/>
              <c:showBubbleSize val="0"/>
            </c:dLbl>
            <c:dLbl>
              <c:idx val="1"/>
              <c:tx>
                <c:rich>
                  <a:bodyPr/>
                  <a:lstStyle/>
                  <a:p>
                    <a:r>
                      <a:t>26.51</a:t>
                    </a:r>
                  </a:p>
                </c:rich>
              </c:tx>
              <c:showLegendKey val="0"/>
              <c:showVal val="1"/>
              <c:showCatName val="0"/>
              <c:showSerName val="0"/>
              <c:showPercent val="0"/>
              <c:showBubbleSize val="0"/>
            </c:dLbl>
            <c:dLbl>
              <c:idx val="2"/>
              <c:tx>
                <c:rich>
                  <a:bodyPr/>
                  <a:lstStyle/>
                  <a:p>
                    <a:r>
                      <a:t>14.99</a:t>
                    </a:r>
                  </a:p>
                </c:rich>
              </c:tx>
              <c:showLegendKey val="0"/>
              <c:showVal val="1"/>
              <c:showCatName val="0"/>
              <c:showSerName val="0"/>
              <c:showPercent val="0"/>
              <c:showBubbleSize val="0"/>
            </c:dLbl>
            <c:dLbl>
              <c:idx val="3"/>
              <c:tx>
                <c:rich>
                  <a:bodyPr/>
                  <a:lstStyle/>
                  <a:p>
                    <a:r>
                      <a:t>9.53</a:t>
                    </a:r>
                  </a:p>
                </c:rich>
              </c:tx>
              <c:showLegendKey val="0"/>
              <c:showVal val="1"/>
              <c:showCatName val="0"/>
              <c:showSerName val="0"/>
              <c:showPercent val="0"/>
              <c:showBubbleSize val="0"/>
            </c:dLbl>
            <c:dLbl>
              <c:idx val="4"/>
              <c:tx>
                <c:rich>
                  <a:bodyPr/>
                  <a:lstStyle/>
                  <a:p>
                    <a:r>
                      <a:t>9.97</a:t>
                    </a:r>
                  </a:p>
                </c:rich>
              </c:tx>
              <c:showLegendKey val="0"/>
              <c:showVal val="1"/>
              <c:showCatName val="0"/>
              <c:showSerName val="0"/>
              <c:showPercent val="0"/>
              <c:showBubbleSize val="0"/>
            </c:dLbl>
            <c:dLbl>
              <c:idx val="5"/>
              <c:tx>
                <c:rich>
                  <a:bodyPr/>
                  <a:lstStyle/>
                  <a:p>
                    <a:r>
                      <a:t>16.96</a:t>
                    </a:r>
                  </a:p>
                </c:rich>
              </c:tx>
              <c:showLegendKey val="0"/>
              <c:showVal val="1"/>
              <c:showCatName val="0"/>
              <c:showSerName val="0"/>
              <c:showPercent val="0"/>
              <c:showBubbleSize val="0"/>
            </c:dLbl>
            <c:dLbl>
              <c:idx val="6"/>
              <c:tx>
                <c:rich>
                  <a:bodyPr/>
                  <a:lstStyle/>
                  <a:p>
                    <a:r>
                      <a:t>23.97</a:t>
                    </a:r>
                  </a:p>
                </c:rich>
              </c:tx>
              <c:showLegendKey val="0"/>
              <c:showVal val="1"/>
              <c:showCatName val="0"/>
              <c:showSerName val="0"/>
              <c:showPercent val="0"/>
              <c:showBubbleSize val="0"/>
            </c:dLbl>
            <c:dLbl>
              <c:idx val="7"/>
              <c:tx>
                <c:rich>
                  <a:bodyPr/>
                  <a:lstStyle/>
                  <a:p>
                    <a:r>
                      <a:t>18.42</a:t>
                    </a:r>
                  </a:p>
                </c:rich>
              </c:tx>
              <c:showLegendKey val="0"/>
              <c:showVal val="1"/>
              <c:showCatName val="0"/>
              <c:showSerName val="0"/>
              <c:showPercent val="0"/>
              <c:showBubbleSize val="0"/>
            </c:dLbl>
            <c:dLbl>
              <c:idx val="8"/>
              <c:tx>
                <c:rich>
                  <a:bodyPr/>
                  <a:lstStyle/>
                  <a:p>
                    <a:r>
                      <a:t>12.46</a:t>
                    </a:r>
                  </a:p>
                </c:rich>
              </c:tx>
              <c:showLegendKey val="0"/>
              <c:showVal val="1"/>
              <c:showCatName val="0"/>
              <c:showSerName val="0"/>
              <c:showPercent val="0"/>
              <c:showBubbleSize val="0"/>
            </c:dLbl>
            <c:dLbl>
              <c:idx val="9"/>
              <c:tx>
                <c:rich>
                  <a:bodyPr/>
                  <a:lstStyle/>
                  <a:p>
                    <a:r>
                      <a:t>40.1</a:t>
                    </a:r>
                  </a:p>
                </c:rich>
              </c:tx>
              <c:showLegendKey val="0"/>
              <c:showVal val="1"/>
              <c:showCatName val="0"/>
              <c:showSerName val="0"/>
              <c:showPercent val="0"/>
              <c:showBubbleSize val="0"/>
            </c:dLbl>
            <c:dLbl>
              <c:idx val="10"/>
              <c:tx>
                <c:rich>
                  <a:bodyPr/>
                  <a:lstStyle/>
                  <a:p>
                    <a:r>
                      <a:t>29.97</a:t>
                    </a:r>
                  </a:p>
                </c:rich>
              </c:tx>
              <c:showLegendKey val="0"/>
              <c:showVal val="1"/>
              <c:showCatName val="0"/>
              <c:showSerName val="0"/>
              <c:showPercent val="0"/>
              <c:showBubbleSize val="0"/>
            </c:dLbl>
            <c:dLbl>
              <c:idx val="11"/>
              <c:tx>
                <c:rich>
                  <a:bodyPr/>
                  <a:lstStyle/>
                  <a:p>
                    <a:r>
                      <a:t>22.46</a:t>
                    </a:r>
                  </a:p>
                </c:rich>
              </c:tx>
              <c:showLegendKey val="0"/>
              <c:showVal val="1"/>
              <c:showCatName val="0"/>
              <c:showSerName val="0"/>
              <c:showPercent val="0"/>
              <c:showBubbleSize val="0"/>
            </c:dLbl>
            <c:dLbl>
              <c:idx val="12"/>
              <c:tx>
                <c:rich>
                  <a:bodyPr/>
                  <a:lstStyle/>
                  <a:p>
                    <a:r>
                      <a:t>8.97</a:t>
                    </a:r>
                  </a:p>
                </c:rich>
              </c:tx>
              <c:showLegendKey val="0"/>
              <c:showVal val="1"/>
              <c:showCatName val="0"/>
              <c:showSerName val="0"/>
              <c:showPercent val="0"/>
              <c:showBubbleSize val="0"/>
            </c:dLbl>
            <c:dLbl>
              <c:idx val="13"/>
              <c:tx>
                <c:rich>
                  <a:bodyPr/>
                  <a:lstStyle/>
                  <a:p>
                    <a:r>
                      <a:t>16.9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HYDRO 5 SENSITIVE 5 BLADE REFILL SENSITIVE 6CT</c:v>
                </c:pt>
                <c:pt idx="1">
                  <c:v>HYDRO 5 SENSITIVE 5 BLADE REFILL SENSITIVE 12CT</c:v>
                </c:pt>
                <c:pt idx="2">
                  <c:v>CREMO 5 BLADE REFILL NORMAL 4CT</c:v>
                </c:pt>
                <c:pt idx="3">
                  <c:v>SCHICK HYDRO 3 SENSITIVE 3 BLADE REFILL SENSITIVE 5CT</c:v>
                </c:pt>
                <c:pt idx="4">
                  <c:v>HARRY'S 5 BLADE REFILL NORMAL 4CT</c:v>
                </c:pt>
                <c:pt idx="5">
                  <c:v>HARRY'S 5 BLADE REFILL NORMAL 8CT</c:v>
                </c:pt>
                <c:pt idx="6">
                  <c:v>HARRY'S 5 BLADE REFILL NORMAL 12CT</c:v>
                </c:pt>
                <c:pt idx="7">
                  <c:v>GILLETTE FUSION 5 5 BLADE REFILL NORMAL 4CT</c:v>
                </c:pt>
                <c:pt idx="8">
                  <c:v>GILLETTE MACH 3 3 BLADE REFILL NORMAL 4CT</c:v>
                </c:pt>
                <c:pt idx="9">
                  <c:v>GILLETTE FUSION 5 5 BLADE REFILL NORMAL 12CT</c:v>
                </c:pt>
                <c:pt idx="10">
                  <c:v>GILLETTE FUSION 5 5 BLADE REFILL NORMAL 8CT</c:v>
                </c:pt>
                <c:pt idx="11">
                  <c:v>GILLETTE MACH 3 3 BLADE REFILL NORMAL 8CT</c:v>
                </c:pt>
                <c:pt idx="12">
                  <c:v>DOLLAR SHAVE CLUB 6 BLADE REFILL NORMAL 4CT</c:v>
                </c:pt>
                <c:pt idx="13">
                  <c:v>DOLLAR SHAVE CLUB 6 BLADE REFILL NORMAL 8CT</c:v>
                </c:pt>
              </c:strCache>
            </c:strRef>
          </c:cat>
          <c:val>
            <c:numRef>
              <c:f>Sheet1!$B$2:$B$15</c:f>
              <c:numCache>
                <c:formatCode>General</c:formatCode>
                <c:ptCount val="14"/>
                <c:pt idx="0">
                  <c:v>14.73</c:v>
                </c:pt>
                <c:pt idx="1">
                  <c:v>26.51</c:v>
                </c:pt>
                <c:pt idx="2">
                  <c:v>14.99</c:v>
                </c:pt>
                <c:pt idx="3">
                  <c:v>9.53</c:v>
                </c:pt>
                <c:pt idx="4">
                  <c:v>9.97</c:v>
                </c:pt>
                <c:pt idx="5">
                  <c:v>16.96</c:v>
                </c:pt>
                <c:pt idx="6">
                  <c:v>23.97</c:v>
                </c:pt>
                <c:pt idx="7">
                  <c:v>18.42</c:v>
                </c:pt>
                <c:pt idx="8">
                  <c:v>12.46</c:v>
                </c:pt>
                <c:pt idx="9">
                  <c:v>40.1</c:v>
                </c:pt>
                <c:pt idx="10">
                  <c:v>29.97</c:v>
                </c:pt>
                <c:pt idx="11">
                  <c:v>22.46</c:v>
                </c:pt>
                <c:pt idx="12">
                  <c:v>8.97</c:v>
                </c:pt>
                <c:pt idx="13">
                  <c:v>16.9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09</a:t>
                    </a:r>
                  </a:p>
                </c:rich>
              </c:tx>
              <c:showLegendKey val="0"/>
              <c:showVal val="1"/>
              <c:showCatName val="0"/>
              <c:showSerName val="0"/>
              <c:showPercent val="0"/>
              <c:showBubbleSize val="0"/>
            </c:dLbl>
            <c:dLbl>
              <c:idx val="1"/>
              <c:tx>
                <c:rich>
                  <a:bodyPr/>
                  <a:lstStyle/>
                  <a:p>
                    <a:r>
                      <a:t>15.22</a:t>
                    </a:r>
                  </a:p>
                </c:rich>
              </c:tx>
              <c:showLegendKey val="0"/>
              <c:showVal val="1"/>
              <c:showCatName val="0"/>
              <c:showSerName val="0"/>
              <c:showPercent val="0"/>
              <c:showBubbleSize val="0"/>
            </c:dLbl>
            <c:dLbl>
              <c:idx val="2"/>
              <c:tx>
                <c:rich>
                  <a:bodyPr/>
                  <a:lstStyle/>
                  <a:p>
                    <a:r>
                      <a:t>7.29</a:t>
                    </a:r>
                  </a:p>
                </c:rich>
              </c:tx>
              <c:showLegendKey val="0"/>
              <c:showVal val="1"/>
              <c:showCatName val="0"/>
              <c:showSerName val="0"/>
              <c:showPercent val="0"/>
              <c:showBubbleSize val="0"/>
            </c:dLbl>
            <c:dLbl>
              <c:idx val="3"/>
              <c:tx>
                <c:rich>
                  <a:bodyPr/>
                  <a:lstStyle/>
                  <a:p>
                    <a:r>
                      <a:t>10.59</a:t>
                    </a:r>
                  </a:p>
                </c:rich>
              </c:tx>
              <c:showLegendKey val="0"/>
              <c:showVal val="1"/>
              <c:showCatName val="0"/>
              <c:showSerName val="0"/>
              <c:showPercent val="0"/>
              <c:showBubbleSize val="0"/>
            </c:dLbl>
            <c:dLbl>
              <c:idx val="4"/>
              <c:tx>
                <c:rich>
                  <a:bodyPr/>
                  <a:lstStyle/>
                  <a:p>
                    <a:r>
                      <a:t>7.27</a:t>
                    </a:r>
                  </a:p>
                </c:rich>
              </c:tx>
              <c:showLegendKey val="0"/>
              <c:showVal val="1"/>
              <c:showCatName val="0"/>
              <c:showSerName val="0"/>
              <c:showPercent val="0"/>
              <c:showBubbleSize val="0"/>
            </c:dLbl>
            <c:dLbl>
              <c:idx val="5"/>
              <c:tx>
                <c:rich>
                  <a:bodyPr/>
                  <a:lstStyle/>
                  <a:p>
                    <a:r>
                      <a:t>6.93</a:t>
                    </a:r>
                  </a:p>
                </c:rich>
              </c:tx>
              <c:showLegendKey val="0"/>
              <c:showVal val="1"/>
              <c:showCatName val="0"/>
              <c:showSerName val="0"/>
              <c:showPercent val="0"/>
              <c:showBubbleSize val="0"/>
            </c:dLbl>
            <c:dLbl>
              <c:idx val="6"/>
              <c:tx>
                <c:rich>
                  <a:bodyPr/>
                  <a:lstStyle/>
                  <a:p>
                    <a:r>
                      <a:t>7.11</a:t>
                    </a:r>
                  </a:p>
                </c:rich>
              </c:tx>
              <c:showLegendKey val="0"/>
              <c:showVal val="1"/>
              <c:showCatName val="0"/>
              <c:showSerName val="0"/>
              <c:showPercent val="0"/>
              <c:showBubbleSize val="0"/>
            </c:dLbl>
            <c:dLbl>
              <c:idx val="7"/>
              <c:tx>
                <c:rich>
                  <a:bodyPr/>
                  <a:lstStyle/>
                  <a:p>
                    <a:r>
                      <a:t>7.15</a:t>
                    </a:r>
                  </a:p>
                </c:rich>
              </c:tx>
              <c:showLegendKey val="0"/>
              <c:showVal val="1"/>
              <c:showCatName val="0"/>
              <c:showSerName val="0"/>
              <c:showPercent val="0"/>
              <c:showBubbleSize val="0"/>
            </c:dLbl>
            <c:dLbl>
              <c:idx val="8"/>
              <c:tx>
                <c:rich>
                  <a:bodyPr/>
                  <a:lstStyle/>
                  <a:p>
                    <a:r>
                      <a:t>3.77</a:t>
                    </a:r>
                  </a:p>
                </c:rich>
              </c:tx>
              <c:showLegendKey val="0"/>
              <c:showVal val="1"/>
              <c:showCatName val="0"/>
              <c:showSerName val="0"/>
              <c:showPercent val="0"/>
              <c:showBubbleSize val="0"/>
            </c:dLbl>
            <c:dLbl>
              <c:idx val="9"/>
              <c:tx>
                <c:rich>
                  <a:bodyPr/>
                  <a:lstStyle/>
                  <a:p>
                    <a:r>
                      <a:t>13.0</a:t>
                    </a:r>
                  </a:p>
                </c:rich>
              </c:tx>
              <c:showLegendKey val="0"/>
              <c:showVal val="1"/>
              <c:showCatName val="0"/>
              <c:showSerName val="0"/>
              <c:showPercent val="0"/>
              <c:showBubbleSize val="0"/>
            </c:dLbl>
            <c:dLbl>
              <c:idx val="10"/>
              <c:tx>
                <c:rich>
                  <a:bodyPr/>
                  <a:lstStyle/>
                  <a:p>
                    <a:r>
                      <a:t>19.45</a:t>
                    </a:r>
                  </a:p>
                </c:rich>
              </c:tx>
              <c:showLegendKey val="0"/>
              <c:showVal val="1"/>
              <c:showCatName val="0"/>
              <c:showSerName val="0"/>
              <c:showPercent val="0"/>
              <c:showBubbleSize val="0"/>
            </c:dLbl>
            <c:dLbl>
              <c:idx val="11"/>
              <c:tx>
                <c:rich>
                  <a:bodyPr/>
                  <a:lstStyle/>
                  <a:p>
                    <a:r>
                      <a:t>42.25</a:t>
                    </a:r>
                  </a:p>
                </c:rich>
              </c:tx>
              <c:showLegendKey val="0"/>
              <c:showVal val="1"/>
              <c:showCatName val="0"/>
              <c:showSerName val="0"/>
              <c:showPercent val="0"/>
              <c:showBubbleSize val="0"/>
            </c:dLbl>
            <c:dLbl>
              <c:idx val="12"/>
              <c:tx>
                <c:rich>
                  <a:bodyPr/>
                  <a:lstStyle/>
                  <a:p>
                    <a:r>
                      <a:t>13.06</a:t>
                    </a:r>
                  </a:p>
                </c:rich>
              </c:tx>
              <c:showLegendKey val="0"/>
              <c:showVal val="1"/>
              <c:showCatName val="0"/>
              <c:showSerName val="0"/>
              <c:showPercent val="0"/>
              <c:showBubbleSize val="0"/>
            </c:dLbl>
            <c:dLbl>
              <c:idx val="13"/>
              <c:tx>
                <c:rich>
                  <a:bodyPr/>
                  <a:lstStyle/>
                  <a:p>
                    <a:r>
                      <a:t>32.12</a:t>
                    </a:r>
                  </a:p>
                </c:rich>
              </c:tx>
              <c:showLegendKey val="0"/>
              <c:showVal val="1"/>
              <c:showCatName val="0"/>
              <c:showSerName val="0"/>
              <c:showPercent val="0"/>
              <c:showBubbleSize val="0"/>
            </c:dLbl>
            <c:dLbl>
              <c:idx val="14"/>
              <c:tx>
                <c:rich>
                  <a:bodyPr/>
                  <a:lstStyle/>
                  <a:p>
                    <a:r>
                      <a:t>42.09</a:t>
                    </a:r>
                  </a:p>
                </c:rich>
              </c:tx>
              <c:showLegendKey val="0"/>
              <c:showVal val="1"/>
              <c:showCatName val="0"/>
              <c:showSerName val="0"/>
              <c:showPercent val="0"/>
              <c:showBubbleSize val="0"/>
            </c:dLbl>
            <c:dLbl>
              <c:idx val="15"/>
              <c:tx>
                <c:rich>
                  <a:bodyPr/>
                  <a:lstStyle/>
                  <a:p>
                    <a:r>
                      <a:t>10.19</a:t>
                    </a:r>
                  </a:p>
                </c:rich>
              </c:tx>
              <c:showLegendKey val="0"/>
              <c:showVal val="1"/>
              <c:showCatName val="0"/>
              <c:showSerName val="0"/>
              <c:showPercent val="0"/>
              <c:showBubbleSize val="0"/>
            </c:dLbl>
            <c:dLbl>
              <c:idx val="16"/>
              <c:tx>
                <c:rich>
                  <a:bodyPr/>
                  <a:lstStyle/>
                  <a:p>
                    <a:r>
                      <a:t>17.2</a:t>
                    </a:r>
                  </a:p>
                </c:rich>
              </c:tx>
              <c:showLegendKey val="0"/>
              <c:showVal val="1"/>
              <c:showCatName val="0"/>
              <c:showSerName val="0"/>
              <c:showPercent val="0"/>
              <c:showBubbleSize val="0"/>
            </c:dLbl>
            <c:dLbl>
              <c:idx val="17"/>
              <c:tx>
                <c:rich>
                  <a:bodyPr/>
                  <a:lstStyle/>
                  <a:p>
                    <a:r>
                      <a:t>24.64</a:t>
                    </a:r>
                  </a:p>
                </c:rich>
              </c:tx>
              <c:showLegendKey val="0"/>
              <c:showVal val="1"/>
              <c:showCatName val="0"/>
              <c:showSerName val="0"/>
              <c:showPercent val="0"/>
              <c:showBubbleSize val="0"/>
            </c:dLbl>
            <c:dLbl>
              <c:idx val="18"/>
              <c:tx>
                <c:rich>
                  <a:bodyPr/>
                  <a:lstStyle/>
                  <a:p>
                    <a:r>
                      <a:t>16.3</a:t>
                    </a:r>
                  </a:p>
                </c:rich>
              </c:tx>
              <c:showLegendKey val="0"/>
              <c:showVal val="1"/>
              <c:showCatName val="0"/>
              <c:showSerName val="0"/>
              <c:showPercent val="0"/>
              <c:showBubbleSize val="0"/>
            </c:dLbl>
            <c:dLbl>
              <c:idx val="19"/>
              <c:tx>
                <c:rich>
                  <a:bodyPr/>
                  <a:lstStyle/>
                  <a:p>
                    <a:r>
                      <a:t>18.7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SCHICK XTREME 3 SENSITIVE BLACK GREEN 3 BLADE DISPOSABLE SENSITIVE 20CT</c:v>
                </c:pt>
                <c:pt idx="1">
                  <c:v>HYDRO 5 SENSITIVE 5 BLADE REFILL SENSITIVE 6CT</c:v>
                </c:pt>
                <c:pt idx="2">
                  <c:v>SCHICK XTREME 2 SENSITIVE 2 BLADE DISPOSABLE NORMAL 12CT</c:v>
                </c:pt>
                <c:pt idx="3">
                  <c:v>HYDRO 5 SENSITIVE 5 BLADE RAZOR SENSITIVE 3CT</c:v>
                </c:pt>
                <c:pt idx="4">
                  <c:v>SCHICK XTREME 3 SENSITIVE BLACK 3 BLADE DISPOSABLE SENSITIVE 4CT</c:v>
                </c:pt>
                <c:pt idx="5">
                  <c:v>BIC FLEX 4 4 BLADE DISPOSABLE SENSITIVE 3CT</c:v>
                </c:pt>
                <c:pt idx="6">
                  <c:v>BIC FLEX 5 HYBRID 5 BLADE HYBRID NORMAL 4CT</c:v>
                </c:pt>
                <c:pt idx="7">
                  <c:v>BIC FLEX 5 BLACK WHITE 5 BLADE DISPOSABLE NORMAL 2CT</c:v>
                </c:pt>
                <c:pt idx="8">
                  <c:v>BIC SINGLE SENSITIVE 1 BLADE DISPOSABLE SENSITIVE 12CT</c:v>
                </c:pt>
                <c:pt idx="9">
                  <c:v>BIC FLEX 5 HYBRID 5 BLADE HYBRID NORMAL 7CT</c:v>
                </c:pt>
                <c:pt idx="10">
                  <c:v>GILLETTE FUSION 5 5 BLADE REFILL NORMAL 4CT</c:v>
                </c:pt>
                <c:pt idx="11">
                  <c:v>GILLETTE FUSION 5 5 BLADE REFILL NORMAL 16CT</c:v>
                </c:pt>
                <c:pt idx="12">
                  <c:v>GILLETTE MACH 3 3 BLADE REFILL NORMAL 4CT</c:v>
                </c:pt>
                <c:pt idx="13">
                  <c:v>GILLETTE FUSION 5 5 BLADE REFILL NORMAL 8CT</c:v>
                </c:pt>
                <c:pt idx="14">
                  <c:v>GILLETTE FUSION 5 5 BLADE REFILL NORMAL 12CT</c:v>
                </c:pt>
                <c:pt idx="15">
                  <c:v>HARRY'S 5 BLADE REFILL NORMAL 4CT</c:v>
                </c:pt>
                <c:pt idx="16">
                  <c:v>HARRY'S 5 BLADE REFILL NORMAL 8CT</c:v>
                </c:pt>
                <c:pt idx="17">
                  <c:v>HARRY'S 5 BLADE REFILL NORMAL 12CT</c:v>
                </c:pt>
                <c:pt idx="18">
                  <c:v>HARRY'S ORANGE 5 BLADE RAZOR NORMAL 5CT</c:v>
                </c:pt>
                <c:pt idx="19">
                  <c:v>HARRY'S SILVER 5 BLADE RAZOR NORMAL 5CT</c:v>
                </c:pt>
              </c:strCache>
            </c:strRef>
          </c:cat>
          <c:val>
            <c:numRef>
              <c:f>Sheet1!$B$2:$B$21</c:f>
              <c:numCache>
                <c:formatCode>General</c:formatCode>
                <c:ptCount val="20"/>
                <c:pt idx="0">
                  <c:v>20.09</c:v>
                </c:pt>
                <c:pt idx="1">
                  <c:v>15.22</c:v>
                </c:pt>
                <c:pt idx="2">
                  <c:v>7.29</c:v>
                </c:pt>
                <c:pt idx="3">
                  <c:v>10.59</c:v>
                </c:pt>
                <c:pt idx="4">
                  <c:v>7.27</c:v>
                </c:pt>
                <c:pt idx="5">
                  <c:v>6.93</c:v>
                </c:pt>
                <c:pt idx="6">
                  <c:v>7.11</c:v>
                </c:pt>
                <c:pt idx="7">
                  <c:v>7.15</c:v>
                </c:pt>
                <c:pt idx="8">
                  <c:v>3.77</c:v>
                </c:pt>
                <c:pt idx="9">
                  <c:v>13.0</c:v>
                </c:pt>
                <c:pt idx="10">
                  <c:v>19.45</c:v>
                </c:pt>
                <c:pt idx="11">
                  <c:v>42.25</c:v>
                </c:pt>
                <c:pt idx="12">
                  <c:v>13.06</c:v>
                </c:pt>
                <c:pt idx="13">
                  <c:v>32.12</c:v>
                </c:pt>
                <c:pt idx="14">
                  <c:v>42.09</c:v>
                </c:pt>
                <c:pt idx="15">
                  <c:v>10.19</c:v>
                </c:pt>
                <c:pt idx="16">
                  <c:v>17.2</c:v>
                </c:pt>
                <c:pt idx="17">
                  <c:v>24.64</c:v>
                </c:pt>
                <c:pt idx="18">
                  <c:v>16.3</c:v>
                </c:pt>
                <c:pt idx="19">
                  <c:v>18.7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5.49</a:t>
                    </a:r>
                  </a:p>
                </c:rich>
              </c:tx>
              <c:showLegendKey val="0"/>
              <c:showVal val="1"/>
              <c:showCatName val="0"/>
              <c:showSerName val="0"/>
              <c:showPercent val="0"/>
              <c:showBubbleSize val="0"/>
            </c:dLbl>
            <c:dLbl>
              <c:idx val="1"/>
              <c:tx>
                <c:rich>
                  <a:bodyPr/>
                  <a:lstStyle/>
                  <a:p>
                    <a:r>
                      <a:t>8.96</a:t>
                    </a:r>
                  </a:p>
                </c:rich>
              </c:tx>
              <c:showLegendKey val="0"/>
              <c:showVal val="1"/>
              <c:showCatName val="0"/>
              <c:showSerName val="0"/>
              <c:showPercent val="0"/>
              <c:showBubbleSize val="0"/>
            </c:dLbl>
            <c:dLbl>
              <c:idx val="2"/>
              <c:tx>
                <c:rich>
                  <a:bodyPr/>
                  <a:lstStyle/>
                  <a:p>
                    <a:r>
                      <a:t>2.18</a:t>
                    </a:r>
                  </a:p>
                </c:rich>
              </c:tx>
              <c:showLegendKey val="0"/>
              <c:showVal val="1"/>
              <c:showCatName val="0"/>
              <c:showSerName val="0"/>
              <c:showPercent val="0"/>
              <c:showBubbleSize val="0"/>
            </c:dLbl>
            <c:dLbl>
              <c:idx val="3"/>
              <c:tx>
                <c:rich>
                  <a:bodyPr/>
                  <a:lstStyle/>
                  <a:p>
                    <a:r>
                      <a:t>5.98</a:t>
                    </a:r>
                  </a:p>
                </c:rich>
              </c:tx>
              <c:showLegendKey val="0"/>
              <c:showVal val="1"/>
              <c:showCatName val="0"/>
              <c:showSerName val="0"/>
              <c:showPercent val="0"/>
              <c:showBubbleSize val="0"/>
            </c:dLbl>
            <c:dLbl>
              <c:idx val="4"/>
              <c:tx>
                <c:rich>
                  <a:bodyPr/>
                  <a:lstStyle/>
                  <a:p>
                    <a:r>
                      <a:t>20.0</a:t>
                    </a:r>
                  </a:p>
                </c:rich>
              </c:tx>
              <c:showLegendKey val="0"/>
              <c:showVal val="1"/>
              <c:showCatName val="0"/>
              <c:showSerName val="0"/>
              <c:showPercent val="0"/>
              <c:showBubbleSize val="0"/>
            </c:dLbl>
            <c:dLbl>
              <c:idx val="5"/>
              <c:tx>
                <c:rich>
                  <a:bodyPr/>
                  <a:lstStyle/>
                  <a:p>
                    <a:r>
                      <a:t>6.93</a:t>
                    </a:r>
                  </a:p>
                </c:rich>
              </c:tx>
              <c:showLegendKey val="0"/>
              <c:showVal val="1"/>
              <c:showCatName val="0"/>
              <c:showSerName val="0"/>
              <c:showPercent val="0"/>
              <c:showBubbleSize val="0"/>
            </c:dLbl>
            <c:dLbl>
              <c:idx val="6"/>
              <c:tx>
                <c:rich>
                  <a:bodyPr/>
                  <a:lstStyle/>
                  <a:p>
                    <a:r>
                      <a:t>7.11</a:t>
                    </a:r>
                  </a:p>
                </c:rich>
              </c:tx>
              <c:showLegendKey val="0"/>
              <c:showVal val="1"/>
              <c:showCatName val="0"/>
              <c:showSerName val="0"/>
              <c:showPercent val="0"/>
              <c:showBubbleSize val="0"/>
            </c:dLbl>
            <c:dLbl>
              <c:idx val="7"/>
              <c:tx>
                <c:rich>
                  <a:bodyPr/>
                  <a:lstStyle/>
                  <a:p>
                    <a:r>
                      <a:t>7.15</a:t>
                    </a:r>
                  </a:p>
                </c:rich>
              </c:tx>
              <c:showLegendKey val="0"/>
              <c:showVal val="1"/>
              <c:showCatName val="0"/>
              <c:showSerName val="0"/>
              <c:showPercent val="0"/>
              <c:showBubbleSize val="0"/>
            </c:dLbl>
            <c:dLbl>
              <c:idx val="8"/>
              <c:tx>
                <c:rich>
                  <a:bodyPr/>
                  <a:lstStyle/>
                  <a:p>
                    <a:r>
                      <a:t>3.77</a:t>
                    </a:r>
                  </a:p>
                </c:rich>
              </c:tx>
              <c:showLegendKey val="0"/>
              <c:showVal val="1"/>
              <c:showCatName val="0"/>
              <c:showSerName val="0"/>
              <c:showPercent val="0"/>
              <c:showBubbleSize val="0"/>
            </c:dLbl>
            <c:dLbl>
              <c:idx val="9"/>
              <c:tx>
                <c:rich>
                  <a:bodyPr/>
                  <a:lstStyle/>
                  <a:p>
                    <a:r>
                      <a:t>13.0</a:t>
                    </a:r>
                  </a:p>
                </c:rich>
              </c:tx>
              <c:showLegendKey val="0"/>
              <c:showVal val="1"/>
              <c:showCatName val="0"/>
              <c:showSerName val="0"/>
              <c:showPercent val="0"/>
              <c:showBubbleSize val="0"/>
            </c:dLbl>
            <c:dLbl>
              <c:idx val="10"/>
              <c:tx>
                <c:rich>
                  <a:bodyPr/>
                  <a:lstStyle/>
                  <a:p>
                    <a:r>
                      <a:t>19.45</a:t>
                    </a:r>
                  </a:p>
                </c:rich>
              </c:tx>
              <c:showLegendKey val="0"/>
              <c:showVal val="1"/>
              <c:showCatName val="0"/>
              <c:showSerName val="0"/>
              <c:showPercent val="0"/>
              <c:showBubbleSize val="0"/>
            </c:dLbl>
            <c:dLbl>
              <c:idx val="11"/>
              <c:tx>
                <c:rich>
                  <a:bodyPr/>
                  <a:lstStyle/>
                  <a:p>
                    <a:r>
                      <a:t>42.25</a:t>
                    </a:r>
                  </a:p>
                </c:rich>
              </c:tx>
              <c:showLegendKey val="0"/>
              <c:showVal val="1"/>
              <c:showCatName val="0"/>
              <c:showSerName val="0"/>
              <c:showPercent val="0"/>
              <c:showBubbleSize val="0"/>
            </c:dLbl>
            <c:dLbl>
              <c:idx val="12"/>
              <c:tx>
                <c:rich>
                  <a:bodyPr/>
                  <a:lstStyle/>
                  <a:p>
                    <a:r>
                      <a:t>13.06</a:t>
                    </a:r>
                  </a:p>
                </c:rich>
              </c:tx>
              <c:showLegendKey val="0"/>
              <c:showVal val="1"/>
              <c:showCatName val="0"/>
              <c:showSerName val="0"/>
              <c:showPercent val="0"/>
              <c:showBubbleSize val="0"/>
            </c:dLbl>
            <c:dLbl>
              <c:idx val="13"/>
              <c:tx>
                <c:rich>
                  <a:bodyPr/>
                  <a:lstStyle/>
                  <a:p>
                    <a:r>
                      <a:t>32.12</a:t>
                    </a:r>
                  </a:p>
                </c:rich>
              </c:tx>
              <c:showLegendKey val="0"/>
              <c:showVal val="1"/>
              <c:showCatName val="0"/>
              <c:showSerName val="0"/>
              <c:showPercent val="0"/>
              <c:showBubbleSize val="0"/>
            </c:dLbl>
            <c:dLbl>
              <c:idx val="14"/>
              <c:tx>
                <c:rich>
                  <a:bodyPr/>
                  <a:lstStyle/>
                  <a:p>
                    <a:r>
                      <a:t>42.09</a:t>
                    </a:r>
                  </a:p>
                </c:rich>
              </c:tx>
              <c:showLegendKey val="0"/>
              <c:showVal val="1"/>
              <c:showCatName val="0"/>
              <c:showSerName val="0"/>
              <c:showPercent val="0"/>
              <c:showBubbleSize val="0"/>
            </c:dLbl>
            <c:dLbl>
              <c:idx val="15"/>
              <c:tx>
                <c:rich>
                  <a:bodyPr/>
                  <a:lstStyle/>
                  <a:p>
                    <a:r>
                      <a:t>10.19</a:t>
                    </a:r>
                  </a:p>
                </c:rich>
              </c:tx>
              <c:showLegendKey val="0"/>
              <c:showVal val="1"/>
              <c:showCatName val="0"/>
              <c:showSerName val="0"/>
              <c:showPercent val="0"/>
              <c:showBubbleSize val="0"/>
            </c:dLbl>
            <c:dLbl>
              <c:idx val="16"/>
              <c:tx>
                <c:rich>
                  <a:bodyPr/>
                  <a:lstStyle/>
                  <a:p>
                    <a:r>
                      <a:t>17.2</a:t>
                    </a:r>
                  </a:p>
                </c:rich>
              </c:tx>
              <c:showLegendKey val="0"/>
              <c:showVal val="1"/>
              <c:showCatName val="0"/>
              <c:showSerName val="0"/>
              <c:showPercent val="0"/>
              <c:showBubbleSize val="0"/>
            </c:dLbl>
            <c:dLbl>
              <c:idx val="17"/>
              <c:tx>
                <c:rich>
                  <a:bodyPr/>
                  <a:lstStyle/>
                  <a:p>
                    <a:r>
                      <a:t>24.64</a:t>
                    </a:r>
                  </a:p>
                </c:rich>
              </c:tx>
              <c:showLegendKey val="0"/>
              <c:showVal val="1"/>
              <c:showCatName val="0"/>
              <c:showSerName val="0"/>
              <c:showPercent val="0"/>
              <c:showBubbleSize val="0"/>
            </c:dLbl>
            <c:dLbl>
              <c:idx val="18"/>
              <c:tx>
                <c:rich>
                  <a:bodyPr/>
                  <a:lstStyle/>
                  <a:p>
                    <a:r>
                      <a:t>16.3</a:t>
                    </a:r>
                  </a:p>
                </c:rich>
              </c:tx>
              <c:showLegendKey val="0"/>
              <c:showVal val="1"/>
              <c:showCatName val="0"/>
              <c:showSerName val="0"/>
              <c:showPercent val="0"/>
              <c:showBubbleSize val="0"/>
            </c:dLbl>
            <c:dLbl>
              <c:idx val="19"/>
              <c:tx>
                <c:rich>
                  <a:bodyPr/>
                  <a:lstStyle/>
                  <a:p>
                    <a:r>
                      <a:t>18.7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EQUATE CALIBER 5 5 BLADE DISPOSABLE NORMAL 3CT</c:v>
                </c:pt>
                <c:pt idx="1">
                  <c:v>EQUATE EASY FIT 5 5 BLADE REFILL NORMAL 4CT</c:v>
                </c:pt>
                <c:pt idx="2">
                  <c:v>EQUATE TB (TWIN BLADE) BLUE 2 BLADE DISPOSABLE NORMAL 12CT</c:v>
                </c:pt>
                <c:pt idx="3">
                  <c:v>EQUATE SPEED 3 SENSITIVE GREEN 3 BLADE DISPOSABLE SENSITIVE 8CT</c:v>
                </c:pt>
                <c:pt idx="4">
                  <c:v>EQUATE EASY FIT 5 5 BLADE REFILL NORMAL 12CT</c:v>
                </c:pt>
                <c:pt idx="5">
                  <c:v>BIC FLEX 4 4 BLADE DISPOSABLE SENSITIVE 3CT</c:v>
                </c:pt>
                <c:pt idx="6">
                  <c:v>BIC FLEX 5 HYBRID 5 BLADE HYBRID NORMAL 4CT</c:v>
                </c:pt>
                <c:pt idx="7">
                  <c:v>BIC FLEX 5 BLACK WHITE 5 BLADE DISPOSABLE NORMAL 2CT</c:v>
                </c:pt>
                <c:pt idx="8">
                  <c:v>BIC SINGLE SENSITIVE 1 BLADE DISPOSABLE SENSITIVE 12CT</c:v>
                </c:pt>
                <c:pt idx="9">
                  <c:v>BIC FLEX 5 HYBRID 5 BLADE HYBRID NORMAL 7CT</c:v>
                </c:pt>
                <c:pt idx="10">
                  <c:v>GILLETTE FUSION 5 5 BLADE REFILL NORMAL 4CT</c:v>
                </c:pt>
                <c:pt idx="11">
                  <c:v>GILLETTE FUSION 5 5 BLADE REFILL NORMAL 16CT</c:v>
                </c:pt>
                <c:pt idx="12">
                  <c:v>GILLETTE MACH 3 3 BLADE REFILL NORMAL 4CT</c:v>
                </c:pt>
                <c:pt idx="13">
                  <c:v>GILLETTE FUSION 5 5 BLADE REFILL NORMAL 8CT</c:v>
                </c:pt>
                <c:pt idx="14">
                  <c:v>GILLETTE FUSION 5 5 BLADE REFILL NORMAL 12CT</c:v>
                </c:pt>
                <c:pt idx="15">
                  <c:v>HARRY'S 5 BLADE REFILL NORMAL 4CT</c:v>
                </c:pt>
                <c:pt idx="16">
                  <c:v>HARRY'S 5 BLADE REFILL NORMAL 8CT</c:v>
                </c:pt>
                <c:pt idx="17">
                  <c:v>HARRY'S 5 BLADE REFILL NORMAL 12CT</c:v>
                </c:pt>
                <c:pt idx="18">
                  <c:v>HARRY'S ORANGE 5 BLADE RAZOR NORMAL 5CT</c:v>
                </c:pt>
                <c:pt idx="19">
                  <c:v>HARRY'S SILVER 5 BLADE RAZOR NORMAL 5CT</c:v>
                </c:pt>
              </c:strCache>
            </c:strRef>
          </c:cat>
          <c:val>
            <c:numRef>
              <c:f>Sheet1!$B$2:$B$21</c:f>
              <c:numCache>
                <c:formatCode>General</c:formatCode>
                <c:ptCount val="20"/>
                <c:pt idx="0">
                  <c:v>5.49</c:v>
                </c:pt>
                <c:pt idx="1">
                  <c:v>8.96</c:v>
                </c:pt>
                <c:pt idx="2">
                  <c:v>2.18</c:v>
                </c:pt>
                <c:pt idx="3">
                  <c:v>5.98</c:v>
                </c:pt>
                <c:pt idx="4">
                  <c:v>20.0</c:v>
                </c:pt>
                <c:pt idx="5">
                  <c:v>6.93</c:v>
                </c:pt>
                <c:pt idx="6">
                  <c:v>7.11</c:v>
                </c:pt>
                <c:pt idx="7">
                  <c:v>7.15</c:v>
                </c:pt>
                <c:pt idx="8">
                  <c:v>3.77</c:v>
                </c:pt>
                <c:pt idx="9">
                  <c:v>13.0</c:v>
                </c:pt>
                <c:pt idx="10">
                  <c:v>19.45</c:v>
                </c:pt>
                <c:pt idx="11">
                  <c:v>42.25</c:v>
                </c:pt>
                <c:pt idx="12">
                  <c:v>13.06</c:v>
                </c:pt>
                <c:pt idx="13">
                  <c:v>32.12</c:v>
                </c:pt>
                <c:pt idx="14">
                  <c:v>42.09</c:v>
                </c:pt>
                <c:pt idx="15">
                  <c:v>10.19</c:v>
                </c:pt>
                <c:pt idx="16">
                  <c:v>17.2</c:v>
                </c:pt>
                <c:pt idx="17">
                  <c:v>24.64</c:v>
                </c:pt>
                <c:pt idx="18">
                  <c:v>16.3</c:v>
                </c:pt>
                <c:pt idx="19">
                  <c:v>18.7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9</a:t>
                    </a:r>
                  </a:p>
                </c:rich>
              </c:tx>
              <c:showLegendKey val="0"/>
              <c:showVal val="1"/>
              <c:showCatName val="0"/>
              <c:showSerName val="0"/>
              <c:showPercent val="0"/>
              <c:showBubbleSize val="0"/>
            </c:dLbl>
            <c:dLbl>
              <c:idx val="1"/>
              <c:tx>
                <c:rich>
                  <a:bodyPr/>
                  <a:lstStyle/>
                  <a:p>
                    <a:r>
                      <a:t>15.52</a:t>
                    </a:r>
                  </a:p>
                </c:rich>
              </c:tx>
              <c:showLegendKey val="0"/>
              <c:showVal val="1"/>
              <c:showCatName val="0"/>
              <c:showSerName val="0"/>
              <c:showPercent val="0"/>
              <c:showBubbleSize val="0"/>
            </c:dLbl>
            <c:dLbl>
              <c:idx val="2"/>
              <c:tx>
                <c:rich>
                  <a:bodyPr/>
                  <a:lstStyle/>
                  <a:p>
                    <a:r>
                      <a:t>16.73</a:t>
                    </a:r>
                  </a:p>
                </c:rich>
              </c:tx>
              <c:showLegendKey val="0"/>
              <c:showVal val="1"/>
              <c:showCatName val="0"/>
              <c:showSerName val="0"/>
              <c:showPercent val="0"/>
              <c:showBubbleSize val="0"/>
            </c:dLbl>
            <c:dLbl>
              <c:idx val="3"/>
              <c:tx>
                <c:rich>
                  <a:bodyPr/>
                  <a:lstStyle/>
                  <a:p>
                    <a:r>
                      <a:t>10.6</a:t>
                    </a:r>
                  </a:p>
                </c:rich>
              </c:tx>
              <c:showLegendKey val="0"/>
              <c:showVal val="1"/>
              <c:showCatName val="0"/>
              <c:showSerName val="0"/>
              <c:showPercent val="0"/>
              <c:showBubbleSize val="0"/>
            </c:dLbl>
            <c:dLbl>
              <c:idx val="4"/>
              <c:tx>
                <c:rich>
                  <a:bodyPr/>
                  <a:lstStyle/>
                  <a:p>
                    <a:r>
                      <a:t>6.93</a:t>
                    </a:r>
                  </a:p>
                </c:rich>
              </c:tx>
              <c:showLegendKey val="0"/>
              <c:showVal val="1"/>
              <c:showCatName val="0"/>
              <c:showSerName val="0"/>
              <c:showPercent val="0"/>
              <c:showBubbleSize val="0"/>
            </c:dLbl>
            <c:dLbl>
              <c:idx val="5"/>
              <c:tx>
                <c:rich>
                  <a:bodyPr/>
                  <a:lstStyle/>
                  <a:p>
                    <a:r>
                      <a:t>7.11</a:t>
                    </a:r>
                  </a:p>
                </c:rich>
              </c:tx>
              <c:showLegendKey val="0"/>
              <c:showVal val="1"/>
              <c:showCatName val="0"/>
              <c:showSerName val="0"/>
              <c:showPercent val="0"/>
              <c:showBubbleSize val="0"/>
            </c:dLbl>
            <c:dLbl>
              <c:idx val="6"/>
              <c:tx>
                <c:rich>
                  <a:bodyPr/>
                  <a:lstStyle/>
                  <a:p>
                    <a:r>
                      <a:t>7.15</a:t>
                    </a:r>
                  </a:p>
                </c:rich>
              </c:tx>
              <c:showLegendKey val="0"/>
              <c:showVal val="1"/>
              <c:showCatName val="0"/>
              <c:showSerName val="0"/>
              <c:showPercent val="0"/>
              <c:showBubbleSize val="0"/>
            </c:dLbl>
            <c:dLbl>
              <c:idx val="7"/>
              <c:tx>
                <c:rich>
                  <a:bodyPr/>
                  <a:lstStyle/>
                  <a:p>
                    <a:r>
                      <a:t>3.77</a:t>
                    </a:r>
                  </a:p>
                </c:rich>
              </c:tx>
              <c:showLegendKey val="0"/>
              <c:showVal val="1"/>
              <c:showCatName val="0"/>
              <c:showSerName val="0"/>
              <c:showPercent val="0"/>
              <c:showBubbleSize val="0"/>
            </c:dLbl>
            <c:dLbl>
              <c:idx val="8"/>
              <c:tx>
                <c:rich>
                  <a:bodyPr/>
                  <a:lstStyle/>
                  <a:p>
                    <a:r>
                      <a:t>13.0</a:t>
                    </a:r>
                  </a:p>
                </c:rich>
              </c:tx>
              <c:showLegendKey val="0"/>
              <c:showVal val="1"/>
              <c:showCatName val="0"/>
              <c:showSerName val="0"/>
              <c:showPercent val="0"/>
              <c:showBubbleSize val="0"/>
            </c:dLbl>
            <c:dLbl>
              <c:idx val="9"/>
              <c:tx>
                <c:rich>
                  <a:bodyPr/>
                  <a:lstStyle/>
                  <a:p>
                    <a:r>
                      <a:t>19.45</a:t>
                    </a:r>
                  </a:p>
                </c:rich>
              </c:tx>
              <c:showLegendKey val="0"/>
              <c:showVal val="1"/>
              <c:showCatName val="0"/>
              <c:showSerName val="0"/>
              <c:showPercent val="0"/>
              <c:showBubbleSize val="0"/>
            </c:dLbl>
            <c:dLbl>
              <c:idx val="10"/>
              <c:tx>
                <c:rich>
                  <a:bodyPr/>
                  <a:lstStyle/>
                  <a:p>
                    <a:r>
                      <a:t>42.25</a:t>
                    </a:r>
                  </a:p>
                </c:rich>
              </c:tx>
              <c:showLegendKey val="0"/>
              <c:showVal val="1"/>
              <c:showCatName val="0"/>
              <c:showSerName val="0"/>
              <c:showPercent val="0"/>
              <c:showBubbleSize val="0"/>
            </c:dLbl>
            <c:dLbl>
              <c:idx val="11"/>
              <c:tx>
                <c:rich>
                  <a:bodyPr/>
                  <a:lstStyle/>
                  <a:p>
                    <a:r>
                      <a:t>13.06</a:t>
                    </a:r>
                  </a:p>
                </c:rich>
              </c:tx>
              <c:showLegendKey val="0"/>
              <c:showVal val="1"/>
              <c:showCatName val="0"/>
              <c:showSerName val="0"/>
              <c:showPercent val="0"/>
              <c:showBubbleSize val="0"/>
            </c:dLbl>
            <c:dLbl>
              <c:idx val="12"/>
              <c:tx>
                <c:rich>
                  <a:bodyPr/>
                  <a:lstStyle/>
                  <a:p>
                    <a:r>
                      <a:t>32.12</a:t>
                    </a:r>
                  </a:p>
                </c:rich>
              </c:tx>
              <c:showLegendKey val="0"/>
              <c:showVal val="1"/>
              <c:showCatName val="0"/>
              <c:showSerName val="0"/>
              <c:showPercent val="0"/>
              <c:showBubbleSize val="0"/>
            </c:dLbl>
            <c:dLbl>
              <c:idx val="13"/>
              <c:tx>
                <c:rich>
                  <a:bodyPr/>
                  <a:lstStyle/>
                  <a:p>
                    <a:r>
                      <a:t>42.09</a:t>
                    </a:r>
                  </a:p>
                </c:rich>
              </c:tx>
              <c:showLegendKey val="0"/>
              <c:showVal val="1"/>
              <c:showCatName val="0"/>
              <c:showSerName val="0"/>
              <c:showPercent val="0"/>
              <c:showBubbleSize val="0"/>
            </c:dLbl>
            <c:dLbl>
              <c:idx val="14"/>
              <c:tx>
                <c:rich>
                  <a:bodyPr/>
                  <a:lstStyle/>
                  <a:p>
                    <a:r>
                      <a:t>10.19</a:t>
                    </a:r>
                  </a:p>
                </c:rich>
              </c:tx>
              <c:showLegendKey val="0"/>
              <c:showVal val="1"/>
              <c:showCatName val="0"/>
              <c:showSerName val="0"/>
              <c:showPercent val="0"/>
              <c:showBubbleSize val="0"/>
            </c:dLbl>
            <c:dLbl>
              <c:idx val="15"/>
              <c:tx>
                <c:rich>
                  <a:bodyPr/>
                  <a:lstStyle/>
                  <a:p>
                    <a:r>
                      <a:t>17.2</a:t>
                    </a:r>
                  </a:p>
                </c:rich>
              </c:tx>
              <c:showLegendKey val="0"/>
              <c:showVal val="1"/>
              <c:showCatName val="0"/>
              <c:showSerName val="0"/>
              <c:showPercent val="0"/>
              <c:showBubbleSize val="0"/>
            </c:dLbl>
            <c:dLbl>
              <c:idx val="16"/>
              <c:tx>
                <c:rich>
                  <a:bodyPr/>
                  <a:lstStyle/>
                  <a:p>
                    <a:r>
                      <a:t>24.64</a:t>
                    </a:r>
                  </a:p>
                </c:rich>
              </c:tx>
              <c:showLegendKey val="0"/>
              <c:showVal val="1"/>
              <c:showCatName val="0"/>
              <c:showSerName val="0"/>
              <c:showPercent val="0"/>
              <c:showBubbleSize val="0"/>
            </c:dLbl>
            <c:dLbl>
              <c:idx val="17"/>
              <c:tx>
                <c:rich>
                  <a:bodyPr/>
                  <a:lstStyle/>
                  <a:p>
                    <a:r>
                      <a:t>16.3</a:t>
                    </a:r>
                  </a:p>
                </c:rich>
              </c:tx>
              <c:showLegendKey val="0"/>
              <c:showVal val="1"/>
              <c:showCatName val="0"/>
              <c:showSerName val="0"/>
              <c:showPercent val="0"/>
              <c:showBubbleSize val="0"/>
            </c:dLbl>
            <c:dLbl>
              <c:idx val="18"/>
              <c:tx>
                <c:rich>
                  <a:bodyPr/>
                  <a:lstStyle/>
                  <a:p>
                    <a:r>
                      <a:t>18.7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CREMO 5 BLADE REFILL NORMAL 4CT</c:v>
                </c:pt>
                <c:pt idx="1">
                  <c:v>CREMO 5 BLADE RAZOR NORMAL 2CT</c:v>
                </c:pt>
                <c:pt idx="2">
                  <c:v>CREMO SILVER HOLIDAY GIFT PACK REM BLADES RAZOR 5CT</c:v>
                </c:pt>
                <c:pt idx="3">
                  <c:v>CREMO SILVER HOLIDAY GIFT PACK 5 BLADE RAZOR 5CT</c:v>
                </c:pt>
                <c:pt idx="4">
                  <c:v>BIC FLEX 4 4 BLADE DISPOSABLE SENSITIVE 3CT</c:v>
                </c:pt>
                <c:pt idx="5">
                  <c:v>BIC FLEX 5 HYBRID 5 BLADE HYBRID NORMAL 4CT</c:v>
                </c:pt>
                <c:pt idx="6">
                  <c:v>BIC FLEX 5 BLACK WHITE 5 BLADE DISPOSABLE NORMAL 2CT</c:v>
                </c:pt>
                <c:pt idx="7">
                  <c:v>BIC SINGLE SENSITIVE 1 BLADE DISPOSABLE SENSITIVE 12CT</c:v>
                </c:pt>
                <c:pt idx="8">
                  <c:v>BIC FLEX 5 HYBRID 5 BLADE HYBRID NORMAL 7CT</c:v>
                </c:pt>
                <c:pt idx="9">
                  <c:v>GILLETTE FUSION 5 5 BLADE REFILL NORMAL 4CT</c:v>
                </c:pt>
                <c:pt idx="10">
                  <c:v>GILLETTE FUSION 5 5 BLADE REFILL NORMAL 16CT</c:v>
                </c:pt>
                <c:pt idx="11">
                  <c:v>GILLETTE MACH 3 3 BLADE REFILL NORMAL 4CT</c:v>
                </c:pt>
                <c:pt idx="12">
                  <c:v>GILLETTE FUSION 5 5 BLADE REFILL NORMAL 8CT</c:v>
                </c:pt>
                <c:pt idx="13">
                  <c:v>GILLETTE FUSION 5 5 BLADE REFILL NORMAL 12CT</c:v>
                </c:pt>
                <c:pt idx="14">
                  <c:v>HARRY'S 5 BLADE REFILL NORMAL 4CT</c:v>
                </c:pt>
                <c:pt idx="15">
                  <c:v>HARRY'S 5 BLADE REFILL NORMAL 8CT</c:v>
                </c:pt>
                <c:pt idx="16">
                  <c:v>HARRY'S 5 BLADE REFILL NORMAL 12CT</c:v>
                </c:pt>
                <c:pt idx="17">
                  <c:v>HARRY'S ORANGE 5 BLADE RAZOR NORMAL 5CT</c:v>
                </c:pt>
                <c:pt idx="18">
                  <c:v>HARRY'S SILVER 5 BLADE RAZOR NORMAL 5CT</c:v>
                </c:pt>
              </c:strCache>
            </c:strRef>
          </c:cat>
          <c:val>
            <c:numRef>
              <c:f>Sheet1!$B$2:$B$20</c:f>
              <c:numCache>
                <c:formatCode>General</c:formatCode>
                <c:ptCount val="19"/>
                <c:pt idx="0">
                  <c:v>13.9</c:v>
                </c:pt>
                <c:pt idx="1">
                  <c:v>15.52</c:v>
                </c:pt>
                <c:pt idx="2">
                  <c:v>16.73</c:v>
                </c:pt>
                <c:pt idx="3">
                  <c:v>10.6</c:v>
                </c:pt>
                <c:pt idx="4">
                  <c:v>6.93</c:v>
                </c:pt>
                <c:pt idx="5">
                  <c:v>7.11</c:v>
                </c:pt>
                <c:pt idx="6">
                  <c:v>7.15</c:v>
                </c:pt>
                <c:pt idx="7">
                  <c:v>3.77</c:v>
                </c:pt>
                <c:pt idx="8">
                  <c:v>13.0</c:v>
                </c:pt>
                <c:pt idx="9">
                  <c:v>19.45</c:v>
                </c:pt>
                <c:pt idx="10">
                  <c:v>42.25</c:v>
                </c:pt>
                <c:pt idx="11">
                  <c:v>13.06</c:v>
                </c:pt>
                <c:pt idx="12">
                  <c:v>32.12</c:v>
                </c:pt>
                <c:pt idx="13">
                  <c:v>42.09</c:v>
                </c:pt>
                <c:pt idx="14">
                  <c:v>10.19</c:v>
                </c:pt>
                <c:pt idx="15">
                  <c:v>17.2</c:v>
                </c:pt>
                <c:pt idx="16">
                  <c:v>24.64</c:v>
                </c:pt>
                <c:pt idx="17">
                  <c:v>16.3</c:v>
                </c:pt>
                <c:pt idx="18">
                  <c:v>18.7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1</a:t>
                    </a:r>
                  </a:p>
                </c:rich>
              </c:tx>
              <c:showLegendKey val="0"/>
              <c:showVal val="1"/>
              <c:showCatName val="0"/>
              <c:showSerName val="0"/>
              <c:showPercent val="0"/>
              <c:showBubbleSize val="0"/>
            </c:dLbl>
            <c:dLbl>
              <c:idx val="1"/>
              <c:tx>
                <c:rich>
                  <a:bodyPr/>
                  <a:lstStyle/>
                  <a:p>
                    <a:r>
                      <a:t>24.71</a:t>
                    </a:r>
                  </a:p>
                </c:rich>
              </c:tx>
              <c:showLegendKey val="0"/>
              <c:showVal val="1"/>
              <c:showCatName val="0"/>
              <c:showSerName val="0"/>
              <c:showPercent val="0"/>
              <c:showBubbleSize val="0"/>
            </c:dLbl>
            <c:dLbl>
              <c:idx val="2"/>
              <c:tx>
                <c:rich>
                  <a:bodyPr/>
                  <a:lstStyle/>
                  <a:p>
                    <a:r>
                      <a:t>42.27</a:t>
                    </a:r>
                  </a:p>
                </c:rich>
              </c:tx>
              <c:showLegendKey val="0"/>
              <c:showVal val="1"/>
              <c:showCatName val="0"/>
              <c:showSerName val="0"/>
              <c:showPercent val="0"/>
              <c:showBubbleSize val="0"/>
            </c:dLbl>
            <c:dLbl>
              <c:idx val="3"/>
              <c:tx>
                <c:rich>
                  <a:bodyPr/>
                  <a:lstStyle/>
                  <a:p>
                    <a:r>
                      <a:t>39.57</a:t>
                    </a:r>
                  </a:p>
                </c:rich>
              </c:tx>
              <c:showLegendKey val="0"/>
              <c:showVal val="1"/>
              <c:showCatName val="0"/>
              <c:showSerName val="0"/>
              <c:showPercent val="0"/>
              <c:showBubbleSize val="0"/>
            </c:dLbl>
            <c:dLbl>
              <c:idx val="4"/>
              <c:tx>
                <c:rich>
                  <a:bodyPr/>
                  <a:lstStyle/>
                  <a:p>
                    <a:r>
                      <a:t>33.57</a:t>
                    </a:r>
                  </a:p>
                </c:rich>
              </c:tx>
              <c:showLegendKey val="0"/>
              <c:showVal val="1"/>
              <c:showCatName val="0"/>
              <c:showSerName val="0"/>
              <c:showPercent val="0"/>
              <c:showBubbleSize val="0"/>
            </c:dLbl>
            <c:dLbl>
              <c:idx val="5"/>
              <c:tx>
                <c:rich>
                  <a:bodyPr/>
                  <a:lstStyle/>
                  <a:p>
                    <a:r>
                      <a:t>46.81</a:t>
                    </a:r>
                  </a:p>
                </c:rich>
              </c:tx>
              <c:showLegendKey val="0"/>
              <c:showVal val="1"/>
              <c:showCatName val="0"/>
              <c:showSerName val="0"/>
              <c:showPercent val="0"/>
              <c:showBubbleSize val="0"/>
            </c:dLbl>
            <c:dLbl>
              <c:idx val="6"/>
              <c:tx>
                <c:rich>
                  <a:bodyPr/>
                  <a:lstStyle/>
                  <a:p>
                    <a:r>
                      <a:t>32.1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SCHICK XTREME 3 SENSITIVE BLACK GREEN 3 BLADE DISPOSABLE SENSITIVE 20CT</c:v>
                </c:pt>
                <c:pt idx="1">
                  <c:v>SCHICK XTREME 3 SENSITIVE BLACK 3 BLADE DISPOSABLE SENSITIVE 20CT</c:v>
                </c:pt>
                <c:pt idx="2">
                  <c:v>GILLETTE FUSION 5 5 BLADE REFILL NORMAL 16CT</c:v>
                </c:pt>
                <c:pt idx="3">
                  <c:v>GILLETTE MACH 3 3 BLADE REFILL NORMAL 20CT</c:v>
                </c:pt>
                <c:pt idx="4">
                  <c:v>GILLETTE SENSOR 2 PLUS PIVOT 2 BLADE DISPOSABLE NORMAL 52CT</c:v>
                </c:pt>
                <c:pt idx="5">
                  <c:v>GILLETTE FUSION 5 PROGLIDE 5 BLADE RAZOR NORMAL 13CT</c:v>
                </c:pt>
                <c:pt idx="6">
                  <c:v>GILLETTE FUSION 5 5 BLADE RAZOR NORMAL 9CT</c:v>
                </c:pt>
              </c:strCache>
            </c:strRef>
          </c:cat>
          <c:val>
            <c:numRef>
              <c:f>Sheet1!$B$2:$B$8</c:f>
              <c:numCache>
                <c:formatCode>General</c:formatCode>
                <c:ptCount val="7"/>
                <c:pt idx="0">
                  <c:v>20.1</c:v>
                </c:pt>
                <c:pt idx="1">
                  <c:v>24.71</c:v>
                </c:pt>
                <c:pt idx="2">
                  <c:v>42.27</c:v>
                </c:pt>
                <c:pt idx="3">
                  <c:v>39.57</c:v>
                </c:pt>
                <c:pt idx="4">
                  <c:v>33.57</c:v>
                </c:pt>
                <c:pt idx="5">
                  <c:v>46.81</c:v>
                </c:pt>
                <c:pt idx="6">
                  <c:v>32.1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73</a:t>
                    </a:r>
                  </a:p>
                </c:rich>
              </c:tx>
              <c:showLegendKey val="0"/>
              <c:showVal val="1"/>
              <c:showCatName val="0"/>
              <c:showSerName val="0"/>
              <c:showPercent val="0"/>
              <c:showBubbleSize val="0"/>
            </c:dLbl>
            <c:dLbl>
              <c:idx val="1"/>
              <c:tx>
                <c:rich>
                  <a:bodyPr/>
                  <a:lstStyle/>
                  <a:p>
                    <a:r>
                      <a:t>6.5</a:t>
                    </a:r>
                  </a:p>
                </c:rich>
              </c:tx>
              <c:showLegendKey val="0"/>
              <c:showVal val="1"/>
              <c:showCatName val="0"/>
              <c:showSerName val="0"/>
              <c:showPercent val="0"/>
              <c:showBubbleSize val="0"/>
            </c:dLbl>
            <c:dLbl>
              <c:idx val="2"/>
              <c:tx>
                <c:rich>
                  <a:bodyPr/>
                  <a:lstStyle/>
                  <a:p>
                    <a:r>
                      <a:t>9.96</a:t>
                    </a:r>
                  </a:p>
                </c:rich>
              </c:tx>
              <c:showLegendKey val="0"/>
              <c:showVal val="1"/>
              <c:showCatName val="0"/>
              <c:showSerName val="0"/>
              <c:showPercent val="0"/>
              <c:showBubbleSize val="0"/>
            </c:dLbl>
            <c:dLbl>
              <c:idx val="3"/>
              <c:tx>
                <c:rich>
                  <a:bodyPr/>
                  <a:lstStyle/>
                  <a:p>
                    <a:r>
                      <a:t>26.51</a:t>
                    </a:r>
                  </a:p>
                </c:rich>
              </c:tx>
              <c:showLegendKey val="0"/>
              <c:showVal val="1"/>
              <c:showCatName val="0"/>
              <c:showSerName val="0"/>
              <c:showPercent val="0"/>
              <c:showBubbleSize val="0"/>
            </c:dLbl>
            <c:dLbl>
              <c:idx val="4"/>
              <c:tx>
                <c:rich>
                  <a:bodyPr/>
                  <a:lstStyle/>
                  <a:p>
                    <a:r>
                      <a:t>11.02</a:t>
                    </a:r>
                  </a:p>
                </c:rich>
              </c:tx>
              <c:showLegendKey val="0"/>
              <c:showVal val="1"/>
              <c:showCatName val="0"/>
              <c:showSerName val="0"/>
              <c:showPercent val="0"/>
              <c:showBubbleSize val="0"/>
            </c:dLbl>
            <c:dLbl>
              <c:idx val="5"/>
              <c:tx>
                <c:rich>
                  <a:bodyPr/>
                  <a:lstStyle/>
                  <a:p>
                    <a:r>
                      <a:t>6.92</a:t>
                    </a:r>
                  </a:p>
                </c:rich>
              </c:tx>
              <c:showLegendKey val="0"/>
              <c:showVal val="1"/>
              <c:showCatName val="0"/>
              <c:showSerName val="0"/>
              <c:showPercent val="0"/>
              <c:showBubbleSize val="0"/>
            </c:dLbl>
            <c:dLbl>
              <c:idx val="6"/>
              <c:tx>
                <c:rich>
                  <a:bodyPr/>
                  <a:lstStyle/>
                  <a:p>
                    <a:r>
                      <a:t>3.43</a:t>
                    </a:r>
                  </a:p>
                </c:rich>
              </c:tx>
              <c:showLegendKey val="0"/>
              <c:showVal val="1"/>
              <c:showCatName val="0"/>
              <c:showSerName val="0"/>
              <c:showPercent val="0"/>
              <c:showBubbleSize val="0"/>
            </c:dLbl>
            <c:dLbl>
              <c:idx val="7"/>
              <c:tx>
                <c:rich>
                  <a:bodyPr/>
                  <a:lstStyle/>
                  <a:p>
                    <a:r>
                      <a:t>12.82</a:t>
                    </a:r>
                  </a:p>
                </c:rich>
              </c:tx>
              <c:showLegendKey val="0"/>
              <c:showVal val="1"/>
              <c:showCatName val="0"/>
              <c:showSerName val="0"/>
              <c:showPercent val="0"/>
              <c:showBubbleSize val="0"/>
            </c:dLbl>
            <c:dLbl>
              <c:idx val="8"/>
              <c:tx>
                <c:rich>
                  <a:bodyPr/>
                  <a:lstStyle/>
                  <a:p>
                    <a:r>
                      <a:t>19.98</a:t>
                    </a:r>
                  </a:p>
                </c:rich>
              </c:tx>
              <c:showLegendKey val="0"/>
              <c:showVal val="1"/>
              <c:showCatName val="0"/>
              <c:showSerName val="0"/>
              <c:showPercent val="0"/>
              <c:showBubbleSize val="0"/>
            </c:dLbl>
            <c:dLbl>
              <c:idx val="9"/>
              <c:tx>
                <c:rich>
                  <a:bodyPr/>
                  <a:lstStyle/>
                  <a:p>
                    <a:r>
                      <a:t>6.94</a:t>
                    </a:r>
                  </a:p>
                </c:rich>
              </c:tx>
              <c:showLegendKey val="0"/>
              <c:showVal val="1"/>
              <c:showCatName val="0"/>
              <c:showSerName val="0"/>
              <c:showPercent val="0"/>
              <c:showBubbleSize val="0"/>
            </c:dLbl>
            <c:dLbl>
              <c:idx val="10"/>
              <c:tx>
                <c:rich>
                  <a:bodyPr/>
                  <a:lstStyle/>
                  <a:p>
                    <a:r>
                      <a:t>18.42</a:t>
                    </a:r>
                  </a:p>
                </c:rich>
              </c:tx>
              <c:showLegendKey val="0"/>
              <c:showVal val="1"/>
              <c:showCatName val="0"/>
              <c:showSerName val="0"/>
              <c:showPercent val="0"/>
              <c:showBubbleSize val="0"/>
            </c:dLbl>
            <c:dLbl>
              <c:idx val="11"/>
              <c:tx>
                <c:rich>
                  <a:bodyPr/>
                  <a:lstStyle/>
                  <a:p>
                    <a:r>
                      <a:t>12.46</a:t>
                    </a:r>
                  </a:p>
                </c:rich>
              </c:tx>
              <c:showLegendKey val="0"/>
              <c:showVal val="1"/>
              <c:showCatName val="0"/>
              <c:showSerName val="0"/>
              <c:showPercent val="0"/>
              <c:showBubbleSize val="0"/>
            </c:dLbl>
            <c:dLbl>
              <c:idx val="12"/>
              <c:tx>
                <c:rich>
                  <a:bodyPr/>
                  <a:lstStyle/>
                  <a:p>
                    <a:r>
                      <a:t>40.1</a:t>
                    </a:r>
                  </a:p>
                </c:rich>
              </c:tx>
              <c:showLegendKey val="0"/>
              <c:showVal val="1"/>
              <c:showCatName val="0"/>
              <c:showSerName val="0"/>
              <c:showPercent val="0"/>
              <c:showBubbleSize val="0"/>
            </c:dLbl>
            <c:dLbl>
              <c:idx val="13"/>
              <c:tx>
                <c:rich>
                  <a:bodyPr/>
                  <a:lstStyle/>
                  <a:p>
                    <a:r>
                      <a:t>29.97</a:t>
                    </a:r>
                  </a:p>
                </c:rich>
              </c:tx>
              <c:showLegendKey val="0"/>
              <c:showVal val="1"/>
              <c:showCatName val="0"/>
              <c:showSerName val="0"/>
              <c:showPercent val="0"/>
              <c:showBubbleSize val="0"/>
            </c:dLbl>
            <c:dLbl>
              <c:idx val="14"/>
              <c:tx>
                <c:rich>
                  <a:bodyPr/>
                  <a:lstStyle/>
                  <a:p>
                    <a:r>
                      <a:t>23.89</a:t>
                    </a:r>
                  </a:p>
                </c:rich>
              </c:tx>
              <c:showLegendKey val="0"/>
              <c:showVal val="1"/>
              <c:showCatName val="0"/>
              <c:showSerName val="0"/>
              <c:showPercent val="0"/>
              <c:showBubbleSize val="0"/>
            </c:dLbl>
            <c:dLbl>
              <c:idx val="15"/>
              <c:tx>
                <c:rich>
                  <a:bodyPr/>
                  <a:lstStyle/>
                  <a:p>
                    <a:r>
                      <a:t>9.97</a:t>
                    </a:r>
                  </a:p>
                </c:rich>
              </c:tx>
              <c:showLegendKey val="0"/>
              <c:showVal val="1"/>
              <c:showCatName val="0"/>
              <c:showSerName val="0"/>
              <c:showPercent val="0"/>
              <c:showBubbleSize val="0"/>
            </c:dLbl>
            <c:dLbl>
              <c:idx val="16"/>
              <c:tx>
                <c:rich>
                  <a:bodyPr/>
                  <a:lstStyle/>
                  <a:p>
                    <a:r>
                      <a:t>16.96</a:t>
                    </a:r>
                  </a:p>
                </c:rich>
              </c:tx>
              <c:showLegendKey val="0"/>
              <c:showVal val="1"/>
              <c:showCatName val="0"/>
              <c:showSerName val="0"/>
              <c:showPercent val="0"/>
              <c:showBubbleSize val="0"/>
            </c:dLbl>
            <c:dLbl>
              <c:idx val="17"/>
              <c:tx>
                <c:rich>
                  <a:bodyPr/>
                  <a:lstStyle/>
                  <a:p>
                    <a:r>
                      <a:t>23.97</a:t>
                    </a:r>
                  </a:p>
                </c:rich>
              </c:tx>
              <c:showLegendKey val="0"/>
              <c:showVal val="1"/>
              <c:showCatName val="0"/>
              <c:showSerName val="0"/>
              <c:showPercent val="0"/>
              <c:showBubbleSize val="0"/>
            </c:dLbl>
            <c:dLbl>
              <c:idx val="18"/>
              <c:tx>
                <c:rich>
                  <a:bodyPr/>
                  <a:lstStyle/>
                  <a:p>
                    <a:r>
                      <a:t>16.01</a:t>
                    </a:r>
                  </a:p>
                </c:rich>
              </c:tx>
              <c:showLegendKey val="0"/>
              <c:showVal val="1"/>
              <c:showCatName val="0"/>
              <c:showSerName val="0"/>
              <c:showPercent val="0"/>
              <c:showBubbleSize val="0"/>
            </c:dLbl>
            <c:dLbl>
              <c:idx val="19"/>
              <c:tx>
                <c:rich>
                  <a:bodyPr/>
                  <a:lstStyle/>
                  <a:p>
                    <a:r>
                      <a:t>9.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HYDRO 5 SENSITIVE 5 BLADE REFILL SENSITIVE 6CT</c:v>
                </c:pt>
                <c:pt idx="1">
                  <c:v>SCHICK XTREME 2 SENSITIVE 2 BLADE DISPOSABLE NORMAL 12CT</c:v>
                </c:pt>
                <c:pt idx="2">
                  <c:v>HYDRO 5 SENSITIVE 5 BLADE RAZOR SENSITIVE 3CT</c:v>
                </c:pt>
                <c:pt idx="3">
                  <c:v>HYDRO 5 SENSITIVE 5 BLADE REFILL SENSITIVE 12CT</c:v>
                </c:pt>
                <c:pt idx="4">
                  <c:v>SCHICK XTREME 3 SENSITIVE GREEN 3 BLADE DISPOSABLE SENSITIVE 8CT</c:v>
                </c:pt>
                <c:pt idx="5">
                  <c:v>BIC FLEX 5 HYBRID 5 BLADE HYBRID NORMAL 4CT</c:v>
                </c:pt>
                <c:pt idx="6">
                  <c:v>BIC SINGLE SENSITIVE 1 BLADE DISPOSABLE SENSITIVE 12CT</c:v>
                </c:pt>
                <c:pt idx="7">
                  <c:v>BIC FLEX 5 HYBRID 5 BLADE HYBRID NORMAL 7CT</c:v>
                </c:pt>
                <c:pt idx="8">
                  <c:v>BIC FLEX 5 HYBRID 5 BLADE HYBRID NORMAL 12CT</c:v>
                </c:pt>
                <c:pt idx="9">
                  <c:v>BIC FLEX 5 BLACK WHITE 5 BLADE DISPOSABLE NORMAL 2CT</c:v>
                </c:pt>
                <c:pt idx="10">
                  <c:v>GILLETTE FUSION 5 5 BLADE REFILL NORMAL 4CT</c:v>
                </c:pt>
                <c:pt idx="11">
                  <c:v>GILLETTE MACH 3 3 BLADE REFILL NORMAL 4CT</c:v>
                </c:pt>
                <c:pt idx="12">
                  <c:v>GILLETTE FUSION 5 5 BLADE REFILL NORMAL 12CT</c:v>
                </c:pt>
                <c:pt idx="13">
                  <c:v>GILLETTE FUSION 5 5 BLADE REFILL NORMAL 8CT</c:v>
                </c:pt>
                <c:pt idx="14">
                  <c:v>GILLETTE FUSION 5 5 BLADE RAZOR NORMAL 5CT</c:v>
                </c:pt>
                <c:pt idx="15">
                  <c:v>HARRY'S 5 BLADE REFILL NORMAL 4CT</c:v>
                </c:pt>
                <c:pt idx="16">
                  <c:v>HARRY'S 5 BLADE REFILL NORMAL 8CT</c:v>
                </c:pt>
                <c:pt idx="17">
                  <c:v>HARRY'S 5 BLADE REFILL NORMAL 12CT</c:v>
                </c:pt>
                <c:pt idx="18">
                  <c:v>HARRY'S ORANGE 5 BLADE RAZOR NORMAL 5CT</c:v>
                </c:pt>
                <c:pt idx="19">
                  <c:v>HARRY'S SURF BLUE 5 BLADE RAZOR NORMAL 2CT</c:v>
                </c:pt>
              </c:strCache>
            </c:strRef>
          </c:cat>
          <c:val>
            <c:numRef>
              <c:f>Sheet1!$B$2:$B$21</c:f>
              <c:numCache>
                <c:formatCode>General</c:formatCode>
                <c:ptCount val="20"/>
                <c:pt idx="0">
                  <c:v>14.73</c:v>
                </c:pt>
                <c:pt idx="1">
                  <c:v>6.5</c:v>
                </c:pt>
                <c:pt idx="2">
                  <c:v>9.96</c:v>
                </c:pt>
                <c:pt idx="3">
                  <c:v>26.51</c:v>
                </c:pt>
                <c:pt idx="4">
                  <c:v>11.02</c:v>
                </c:pt>
                <c:pt idx="5">
                  <c:v>6.92</c:v>
                </c:pt>
                <c:pt idx="6">
                  <c:v>3.43</c:v>
                </c:pt>
                <c:pt idx="7">
                  <c:v>12.82</c:v>
                </c:pt>
                <c:pt idx="8">
                  <c:v>19.98</c:v>
                </c:pt>
                <c:pt idx="9">
                  <c:v>6.94</c:v>
                </c:pt>
                <c:pt idx="10">
                  <c:v>18.42</c:v>
                </c:pt>
                <c:pt idx="11">
                  <c:v>12.46</c:v>
                </c:pt>
                <c:pt idx="12">
                  <c:v>40.1</c:v>
                </c:pt>
                <c:pt idx="13">
                  <c:v>29.97</c:v>
                </c:pt>
                <c:pt idx="14">
                  <c:v>23.89</c:v>
                </c:pt>
                <c:pt idx="15">
                  <c:v>9.97</c:v>
                </c:pt>
                <c:pt idx="16">
                  <c:v>16.96</c:v>
                </c:pt>
                <c:pt idx="17">
                  <c:v>23.97</c:v>
                </c:pt>
                <c:pt idx="18">
                  <c:v>16.01</c:v>
                </c:pt>
                <c:pt idx="19">
                  <c:v>9.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5.49</a:t>
                    </a:r>
                  </a:p>
                </c:rich>
              </c:tx>
              <c:showLegendKey val="0"/>
              <c:showVal val="1"/>
              <c:showCatName val="0"/>
              <c:showSerName val="0"/>
              <c:showPercent val="0"/>
              <c:showBubbleSize val="0"/>
            </c:dLbl>
            <c:dLbl>
              <c:idx val="1"/>
              <c:tx>
                <c:rich>
                  <a:bodyPr/>
                  <a:lstStyle/>
                  <a:p>
                    <a:r>
                      <a:t>8.96</a:t>
                    </a:r>
                  </a:p>
                </c:rich>
              </c:tx>
              <c:showLegendKey val="0"/>
              <c:showVal val="1"/>
              <c:showCatName val="0"/>
              <c:showSerName val="0"/>
              <c:showPercent val="0"/>
              <c:showBubbleSize val="0"/>
            </c:dLbl>
            <c:dLbl>
              <c:idx val="2"/>
              <c:tx>
                <c:rich>
                  <a:bodyPr/>
                  <a:lstStyle/>
                  <a:p>
                    <a:r>
                      <a:t>2.18</a:t>
                    </a:r>
                  </a:p>
                </c:rich>
              </c:tx>
              <c:showLegendKey val="0"/>
              <c:showVal val="1"/>
              <c:showCatName val="0"/>
              <c:showSerName val="0"/>
              <c:showPercent val="0"/>
              <c:showBubbleSize val="0"/>
            </c:dLbl>
            <c:dLbl>
              <c:idx val="3"/>
              <c:tx>
                <c:rich>
                  <a:bodyPr/>
                  <a:lstStyle/>
                  <a:p>
                    <a:r>
                      <a:t>5.98</a:t>
                    </a:r>
                  </a:p>
                </c:rich>
              </c:tx>
              <c:showLegendKey val="0"/>
              <c:showVal val="1"/>
              <c:showCatName val="0"/>
              <c:showSerName val="0"/>
              <c:showPercent val="0"/>
              <c:showBubbleSize val="0"/>
            </c:dLbl>
            <c:dLbl>
              <c:idx val="4"/>
              <c:tx>
                <c:rich>
                  <a:bodyPr/>
                  <a:lstStyle/>
                  <a:p>
                    <a:r>
                      <a:t>20.0</a:t>
                    </a:r>
                  </a:p>
                </c:rich>
              </c:tx>
              <c:showLegendKey val="0"/>
              <c:showVal val="1"/>
              <c:showCatName val="0"/>
              <c:showSerName val="0"/>
              <c:showPercent val="0"/>
              <c:showBubbleSize val="0"/>
            </c:dLbl>
            <c:dLbl>
              <c:idx val="5"/>
              <c:tx>
                <c:rich>
                  <a:bodyPr/>
                  <a:lstStyle/>
                  <a:p>
                    <a:r>
                      <a:t>6.92</a:t>
                    </a:r>
                  </a:p>
                </c:rich>
              </c:tx>
              <c:showLegendKey val="0"/>
              <c:showVal val="1"/>
              <c:showCatName val="0"/>
              <c:showSerName val="0"/>
              <c:showPercent val="0"/>
              <c:showBubbleSize val="0"/>
            </c:dLbl>
            <c:dLbl>
              <c:idx val="6"/>
              <c:tx>
                <c:rich>
                  <a:bodyPr/>
                  <a:lstStyle/>
                  <a:p>
                    <a:r>
                      <a:t>3.43</a:t>
                    </a:r>
                  </a:p>
                </c:rich>
              </c:tx>
              <c:showLegendKey val="0"/>
              <c:showVal val="1"/>
              <c:showCatName val="0"/>
              <c:showSerName val="0"/>
              <c:showPercent val="0"/>
              <c:showBubbleSize val="0"/>
            </c:dLbl>
            <c:dLbl>
              <c:idx val="7"/>
              <c:tx>
                <c:rich>
                  <a:bodyPr/>
                  <a:lstStyle/>
                  <a:p>
                    <a:r>
                      <a:t>12.82</a:t>
                    </a:r>
                  </a:p>
                </c:rich>
              </c:tx>
              <c:showLegendKey val="0"/>
              <c:showVal val="1"/>
              <c:showCatName val="0"/>
              <c:showSerName val="0"/>
              <c:showPercent val="0"/>
              <c:showBubbleSize val="0"/>
            </c:dLbl>
            <c:dLbl>
              <c:idx val="8"/>
              <c:tx>
                <c:rich>
                  <a:bodyPr/>
                  <a:lstStyle/>
                  <a:p>
                    <a:r>
                      <a:t>19.98</a:t>
                    </a:r>
                  </a:p>
                </c:rich>
              </c:tx>
              <c:showLegendKey val="0"/>
              <c:showVal val="1"/>
              <c:showCatName val="0"/>
              <c:showSerName val="0"/>
              <c:showPercent val="0"/>
              <c:showBubbleSize val="0"/>
            </c:dLbl>
            <c:dLbl>
              <c:idx val="9"/>
              <c:tx>
                <c:rich>
                  <a:bodyPr/>
                  <a:lstStyle/>
                  <a:p>
                    <a:r>
                      <a:t>6.94</a:t>
                    </a:r>
                  </a:p>
                </c:rich>
              </c:tx>
              <c:showLegendKey val="0"/>
              <c:showVal val="1"/>
              <c:showCatName val="0"/>
              <c:showSerName val="0"/>
              <c:showPercent val="0"/>
              <c:showBubbleSize val="0"/>
            </c:dLbl>
            <c:dLbl>
              <c:idx val="10"/>
              <c:tx>
                <c:rich>
                  <a:bodyPr/>
                  <a:lstStyle/>
                  <a:p>
                    <a:r>
                      <a:t>18.42</a:t>
                    </a:r>
                  </a:p>
                </c:rich>
              </c:tx>
              <c:showLegendKey val="0"/>
              <c:showVal val="1"/>
              <c:showCatName val="0"/>
              <c:showSerName val="0"/>
              <c:showPercent val="0"/>
              <c:showBubbleSize val="0"/>
            </c:dLbl>
            <c:dLbl>
              <c:idx val="11"/>
              <c:tx>
                <c:rich>
                  <a:bodyPr/>
                  <a:lstStyle/>
                  <a:p>
                    <a:r>
                      <a:t>12.46</a:t>
                    </a:r>
                  </a:p>
                </c:rich>
              </c:tx>
              <c:showLegendKey val="0"/>
              <c:showVal val="1"/>
              <c:showCatName val="0"/>
              <c:showSerName val="0"/>
              <c:showPercent val="0"/>
              <c:showBubbleSize val="0"/>
            </c:dLbl>
            <c:dLbl>
              <c:idx val="12"/>
              <c:tx>
                <c:rich>
                  <a:bodyPr/>
                  <a:lstStyle/>
                  <a:p>
                    <a:r>
                      <a:t>40.1</a:t>
                    </a:r>
                  </a:p>
                </c:rich>
              </c:tx>
              <c:showLegendKey val="0"/>
              <c:showVal val="1"/>
              <c:showCatName val="0"/>
              <c:showSerName val="0"/>
              <c:showPercent val="0"/>
              <c:showBubbleSize val="0"/>
            </c:dLbl>
            <c:dLbl>
              <c:idx val="13"/>
              <c:tx>
                <c:rich>
                  <a:bodyPr/>
                  <a:lstStyle/>
                  <a:p>
                    <a:r>
                      <a:t>29.97</a:t>
                    </a:r>
                  </a:p>
                </c:rich>
              </c:tx>
              <c:showLegendKey val="0"/>
              <c:showVal val="1"/>
              <c:showCatName val="0"/>
              <c:showSerName val="0"/>
              <c:showPercent val="0"/>
              <c:showBubbleSize val="0"/>
            </c:dLbl>
            <c:dLbl>
              <c:idx val="14"/>
              <c:tx>
                <c:rich>
                  <a:bodyPr/>
                  <a:lstStyle/>
                  <a:p>
                    <a:r>
                      <a:t>23.89</a:t>
                    </a:r>
                  </a:p>
                </c:rich>
              </c:tx>
              <c:showLegendKey val="0"/>
              <c:showVal val="1"/>
              <c:showCatName val="0"/>
              <c:showSerName val="0"/>
              <c:showPercent val="0"/>
              <c:showBubbleSize val="0"/>
            </c:dLbl>
            <c:dLbl>
              <c:idx val="15"/>
              <c:tx>
                <c:rich>
                  <a:bodyPr/>
                  <a:lstStyle/>
                  <a:p>
                    <a:r>
                      <a:t>9.97</a:t>
                    </a:r>
                  </a:p>
                </c:rich>
              </c:tx>
              <c:showLegendKey val="0"/>
              <c:showVal val="1"/>
              <c:showCatName val="0"/>
              <c:showSerName val="0"/>
              <c:showPercent val="0"/>
              <c:showBubbleSize val="0"/>
            </c:dLbl>
            <c:dLbl>
              <c:idx val="16"/>
              <c:tx>
                <c:rich>
                  <a:bodyPr/>
                  <a:lstStyle/>
                  <a:p>
                    <a:r>
                      <a:t>16.96</a:t>
                    </a:r>
                  </a:p>
                </c:rich>
              </c:tx>
              <c:showLegendKey val="0"/>
              <c:showVal val="1"/>
              <c:showCatName val="0"/>
              <c:showSerName val="0"/>
              <c:showPercent val="0"/>
              <c:showBubbleSize val="0"/>
            </c:dLbl>
            <c:dLbl>
              <c:idx val="17"/>
              <c:tx>
                <c:rich>
                  <a:bodyPr/>
                  <a:lstStyle/>
                  <a:p>
                    <a:r>
                      <a:t>23.97</a:t>
                    </a:r>
                  </a:p>
                </c:rich>
              </c:tx>
              <c:showLegendKey val="0"/>
              <c:showVal val="1"/>
              <c:showCatName val="0"/>
              <c:showSerName val="0"/>
              <c:showPercent val="0"/>
              <c:showBubbleSize val="0"/>
            </c:dLbl>
            <c:dLbl>
              <c:idx val="18"/>
              <c:tx>
                <c:rich>
                  <a:bodyPr/>
                  <a:lstStyle/>
                  <a:p>
                    <a:r>
                      <a:t>16.01</a:t>
                    </a:r>
                  </a:p>
                </c:rich>
              </c:tx>
              <c:showLegendKey val="0"/>
              <c:showVal val="1"/>
              <c:showCatName val="0"/>
              <c:showSerName val="0"/>
              <c:showPercent val="0"/>
              <c:showBubbleSize val="0"/>
            </c:dLbl>
            <c:dLbl>
              <c:idx val="19"/>
              <c:tx>
                <c:rich>
                  <a:bodyPr/>
                  <a:lstStyle/>
                  <a:p>
                    <a:r>
                      <a:t>9.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EQUATE CALIBER 5 5 BLADE DISPOSABLE NORMAL 3CT</c:v>
                </c:pt>
                <c:pt idx="1">
                  <c:v>EQUATE EASY FIT 5 5 BLADE REFILL NORMAL 4CT</c:v>
                </c:pt>
                <c:pt idx="2">
                  <c:v>EQUATE TB (TWIN BLADE) BLUE 2 BLADE DISPOSABLE NORMAL 12CT</c:v>
                </c:pt>
                <c:pt idx="3">
                  <c:v>EQUATE SPEED 3 SENSITIVE GREEN 3 BLADE DISPOSABLE SENSITIVE 8CT</c:v>
                </c:pt>
                <c:pt idx="4">
                  <c:v>EQUATE EASY FIT 5 5 BLADE REFILL NORMAL 12CT</c:v>
                </c:pt>
                <c:pt idx="5">
                  <c:v>BIC FLEX 5 HYBRID 5 BLADE HYBRID NORMAL 4CT</c:v>
                </c:pt>
                <c:pt idx="6">
                  <c:v>BIC SINGLE SENSITIVE 1 BLADE DISPOSABLE SENSITIVE 12CT</c:v>
                </c:pt>
                <c:pt idx="7">
                  <c:v>BIC FLEX 5 HYBRID 5 BLADE HYBRID NORMAL 7CT</c:v>
                </c:pt>
                <c:pt idx="8">
                  <c:v>BIC FLEX 5 HYBRID 5 BLADE HYBRID NORMAL 12CT</c:v>
                </c:pt>
                <c:pt idx="9">
                  <c:v>BIC FLEX 5 BLACK WHITE 5 BLADE DISPOSABLE NORMAL 2CT</c:v>
                </c:pt>
                <c:pt idx="10">
                  <c:v>GILLETTE FUSION 5 5 BLADE REFILL NORMAL 4CT</c:v>
                </c:pt>
                <c:pt idx="11">
                  <c:v>GILLETTE MACH 3 3 BLADE REFILL NORMAL 4CT</c:v>
                </c:pt>
                <c:pt idx="12">
                  <c:v>GILLETTE FUSION 5 5 BLADE REFILL NORMAL 12CT</c:v>
                </c:pt>
                <c:pt idx="13">
                  <c:v>GILLETTE FUSION 5 5 BLADE REFILL NORMAL 8CT</c:v>
                </c:pt>
                <c:pt idx="14">
                  <c:v>GILLETTE FUSION 5 5 BLADE RAZOR NORMAL 5CT</c:v>
                </c:pt>
                <c:pt idx="15">
                  <c:v>HARRY'S 5 BLADE REFILL NORMAL 4CT</c:v>
                </c:pt>
                <c:pt idx="16">
                  <c:v>HARRY'S 5 BLADE REFILL NORMAL 8CT</c:v>
                </c:pt>
                <c:pt idx="17">
                  <c:v>HARRY'S 5 BLADE REFILL NORMAL 12CT</c:v>
                </c:pt>
                <c:pt idx="18">
                  <c:v>HARRY'S ORANGE 5 BLADE RAZOR NORMAL 5CT</c:v>
                </c:pt>
                <c:pt idx="19">
                  <c:v>HARRY'S SURF BLUE 5 BLADE RAZOR NORMAL 2CT</c:v>
                </c:pt>
              </c:strCache>
            </c:strRef>
          </c:cat>
          <c:val>
            <c:numRef>
              <c:f>Sheet1!$B$2:$B$21</c:f>
              <c:numCache>
                <c:formatCode>General</c:formatCode>
                <c:ptCount val="20"/>
                <c:pt idx="0">
                  <c:v>5.49</c:v>
                </c:pt>
                <c:pt idx="1">
                  <c:v>8.96</c:v>
                </c:pt>
                <c:pt idx="2">
                  <c:v>2.18</c:v>
                </c:pt>
                <c:pt idx="3">
                  <c:v>5.98</c:v>
                </c:pt>
                <c:pt idx="4">
                  <c:v>20.0</c:v>
                </c:pt>
                <c:pt idx="5">
                  <c:v>6.92</c:v>
                </c:pt>
                <c:pt idx="6">
                  <c:v>3.43</c:v>
                </c:pt>
                <c:pt idx="7">
                  <c:v>12.82</c:v>
                </c:pt>
                <c:pt idx="8">
                  <c:v>19.98</c:v>
                </c:pt>
                <c:pt idx="9">
                  <c:v>6.94</c:v>
                </c:pt>
                <c:pt idx="10">
                  <c:v>18.42</c:v>
                </c:pt>
                <c:pt idx="11">
                  <c:v>12.46</c:v>
                </c:pt>
                <c:pt idx="12">
                  <c:v>40.1</c:v>
                </c:pt>
                <c:pt idx="13">
                  <c:v>29.97</c:v>
                </c:pt>
                <c:pt idx="14">
                  <c:v>23.89</c:v>
                </c:pt>
                <c:pt idx="15">
                  <c:v>9.97</c:v>
                </c:pt>
                <c:pt idx="16">
                  <c:v>16.96</c:v>
                </c:pt>
                <c:pt idx="17">
                  <c:v>23.97</c:v>
                </c:pt>
                <c:pt idx="18">
                  <c:v>16.01</c:v>
                </c:pt>
                <c:pt idx="19">
                  <c:v>9.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6.85</a:t>
                    </a:r>
                  </a:p>
                </c:rich>
              </c:tx>
              <c:showLegendKey val="0"/>
              <c:showVal val="1"/>
              <c:showCatName val="0"/>
              <c:showSerName val="0"/>
              <c:showPercent val="0"/>
              <c:showBubbleSize val="0"/>
            </c:dLbl>
            <c:dLbl>
              <c:idx val="1"/>
              <c:tx>
                <c:rich>
                  <a:bodyPr/>
                  <a:lstStyle/>
                  <a:p>
                    <a:r>
                      <a:t>14.99</a:t>
                    </a:r>
                  </a:p>
                </c:rich>
              </c:tx>
              <c:showLegendKey val="0"/>
              <c:showVal val="1"/>
              <c:showCatName val="0"/>
              <c:showSerName val="0"/>
              <c:showPercent val="0"/>
              <c:showBubbleSize val="0"/>
            </c:dLbl>
            <c:dLbl>
              <c:idx val="2"/>
              <c:tx>
                <c:rich>
                  <a:bodyPr/>
                  <a:lstStyle/>
                  <a:p>
                    <a:r>
                      <a:t>6.92</a:t>
                    </a:r>
                  </a:p>
                </c:rich>
              </c:tx>
              <c:showLegendKey val="0"/>
              <c:showVal val="1"/>
              <c:showCatName val="0"/>
              <c:showSerName val="0"/>
              <c:showPercent val="0"/>
              <c:showBubbleSize val="0"/>
            </c:dLbl>
            <c:dLbl>
              <c:idx val="3"/>
              <c:tx>
                <c:rich>
                  <a:bodyPr/>
                  <a:lstStyle/>
                  <a:p>
                    <a:r>
                      <a:t>3.43</a:t>
                    </a:r>
                  </a:p>
                </c:rich>
              </c:tx>
              <c:showLegendKey val="0"/>
              <c:showVal val="1"/>
              <c:showCatName val="0"/>
              <c:showSerName val="0"/>
              <c:showPercent val="0"/>
              <c:showBubbleSize val="0"/>
            </c:dLbl>
            <c:dLbl>
              <c:idx val="4"/>
              <c:tx>
                <c:rich>
                  <a:bodyPr/>
                  <a:lstStyle/>
                  <a:p>
                    <a:r>
                      <a:t>12.82</a:t>
                    </a:r>
                  </a:p>
                </c:rich>
              </c:tx>
              <c:showLegendKey val="0"/>
              <c:showVal val="1"/>
              <c:showCatName val="0"/>
              <c:showSerName val="0"/>
              <c:showPercent val="0"/>
              <c:showBubbleSize val="0"/>
            </c:dLbl>
            <c:dLbl>
              <c:idx val="5"/>
              <c:tx>
                <c:rich>
                  <a:bodyPr/>
                  <a:lstStyle/>
                  <a:p>
                    <a:r>
                      <a:t>19.98</a:t>
                    </a:r>
                  </a:p>
                </c:rich>
              </c:tx>
              <c:showLegendKey val="0"/>
              <c:showVal val="1"/>
              <c:showCatName val="0"/>
              <c:showSerName val="0"/>
              <c:showPercent val="0"/>
              <c:showBubbleSize val="0"/>
            </c:dLbl>
            <c:dLbl>
              <c:idx val="6"/>
              <c:tx>
                <c:rich>
                  <a:bodyPr/>
                  <a:lstStyle/>
                  <a:p>
                    <a:r>
                      <a:t>6.94</a:t>
                    </a:r>
                  </a:p>
                </c:rich>
              </c:tx>
              <c:showLegendKey val="0"/>
              <c:showVal val="1"/>
              <c:showCatName val="0"/>
              <c:showSerName val="0"/>
              <c:showPercent val="0"/>
              <c:showBubbleSize val="0"/>
            </c:dLbl>
            <c:dLbl>
              <c:idx val="7"/>
              <c:tx>
                <c:rich>
                  <a:bodyPr/>
                  <a:lstStyle/>
                  <a:p>
                    <a:r>
                      <a:t>18.42</a:t>
                    </a:r>
                  </a:p>
                </c:rich>
              </c:tx>
              <c:showLegendKey val="0"/>
              <c:showVal val="1"/>
              <c:showCatName val="0"/>
              <c:showSerName val="0"/>
              <c:showPercent val="0"/>
              <c:showBubbleSize val="0"/>
            </c:dLbl>
            <c:dLbl>
              <c:idx val="8"/>
              <c:tx>
                <c:rich>
                  <a:bodyPr/>
                  <a:lstStyle/>
                  <a:p>
                    <a:r>
                      <a:t>12.46</a:t>
                    </a:r>
                  </a:p>
                </c:rich>
              </c:tx>
              <c:showLegendKey val="0"/>
              <c:showVal val="1"/>
              <c:showCatName val="0"/>
              <c:showSerName val="0"/>
              <c:showPercent val="0"/>
              <c:showBubbleSize val="0"/>
            </c:dLbl>
            <c:dLbl>
              <c:idx val="9"/>
              <c:tx>
                <c:rich>
                  <a:bodyPr/>
                  <a:lstStyle/>
                  <a:p>
                    <a:r>
                      <a:t>40.1</a:t>
                    </a:r>
                  </a:p>
                </c:rich>
              </c:tx>
              <c:showLegendKey val="0"/>
              <c:showVal val="1"/>
              <c:showCatName val="0"/>
              <c:showSerName val="0"/>
              <c:showPercent val="0"/>
              <c:showBubbleSize val="0"/>
            </c:dLbl>
            <c:dLbl>
              <c:idx val="10"/>
              <c:tx>
                <c:rich>
                  <a:bodyPr/>
                  <a:lstStyle/>
                  <a:p>
                    <a:r>
                      <a:t>29.97</a:t>
                    </a:r>
                  </a:p>
                </c:rich>
              </c:tx>
              <c:showLegendKey val="0"/>
              <c:showVal val="1"/>
              <c:showCatName val="0"/>
              <c:showSerName val="0"/>
              <c:showPercent val="0"/>
              <c:showBubbleSize val="0"/>
            </c:dLbl>
            <c:dLbl>
              <c:idx val="11"/>
              <c:tx>
                <c:rich>
                  <a:bodyPr/>
                  <a:lstStyle/>
                  <a:p>
                    <a:r>
                      <a:t>23.89</a:t>
                    </a:r>
                  </a:p>
                </c:rich>
              </c:tx>
              <c:showLegendKey val="0"/>
              <c:showVal val="1"/>
              <c:showCatName val="0"/>
              <c:showSerName val="0"/>
              <c:showPercent val="0"/>
              <c:showBubbleSize val="0"/>
            </c:dLbl>
            <c:dLbl>
              <c:idx val="12"/>
              <c:tx>
                <c:rich>
                  <a:bodyPr/>
                  <a:lstStyle/>
                  <a:p>
                    <a:r>
                      <a:t>9.97</a:t>
                    </a:r>
                  </a:p>
                </c:rich>
              </c:tx>
              <c:showLegendKey val="0"/>
              <c:showVal val="1"/>
              <c:showCatName val="0"/>
              <c:showSerName val="0"/>
              <c:showPercent val="0"/>
              <c:showBubbleSize val="0"/>
            </c:dLbl>
            <c:dLbl>
              <c:idx val="13"/>
              <c:tx>
                <c:rich>
                  <a:bodyPr/>
                  <a:lstStyle/>
                  <a:p>
                    <a:r>
                      <a:t>16.96</a:t>
                    </a:r>
                  </a:p>
                </c:rich>
              </c:tx>
              <c:showLegendKey val="0"/>
              <c:showVal val="1"/>
              <c:showCatName val="0"/>
              <c:showSerName val="0"/>
              <c:showPercent val="0"/>
              <c:showBubbleSize val="0"/>
            </c:dLbl>
            <c:dLbl>
              <c:idx val="14"/>
              <c:tx>
                <c:rich>
                  <a:bodyPr/>
                  <a:lstStyle/>
                  <a:p>
                    <a:r>
                      <a:t>23.97</a:t>
                    </a:r>
                  </a:p>
                </c:rich>
              </c:tx>
              <c:showLegendKey val="0"/>
              <c:showVal val="1"/>
              <c:showCatName val="0"/>
              <c:showSerName val="0"/>
              <c:showPercent val="0"/>
              <c:showBubbleSize val="0"/>
            </c:dLbl>
            <c:dLbl>
              <c:idx val="15"/>
              <c:tx>
                <c:rich>
                  <a:bodyPr/>
                  <a:lstStyle/>
                  <a:p>
                    <a:r>
                      <a:t>16.01</a:t>
                    </a:r>
                  </a:p>
                </c:rich>
              </c:tx>
              <c:showLegendKey val="0"/>
              <c:showVal val="1"/>
              <c:showCatName val="0"/>
              <c:showSerName val="0"/>
              <c:showPercent val="0"/>
              <c:showBubbleSize val="0"/>
            </c:dLbl>
            <c:dLbl>
              <c:idx val="16"/>
              <c:tx>
                <c:rich>
                  <a:bodyPr/>
                  <a:lstStyle/>
                  <a:p>
                    <a:r>
                      <a:t>9.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CREMO 5 BLADE RAZOR NORMAL 2CT</c:v>
                </c:pt>
                <c:pt idx="1">
                  <c:v>CREMO 5 BLADE REFILL NORMAL 4CT</c:v>
                </c:pt>
                <c:pt idx="2">
                  <c:v>BIC FLEX 5 HYBRID 5 BLADE HYBRID NORMAL 4CT</c:v>
                </c:pt>
                <c:pt idx="3">
                  <c:v>BIC SINGLE SENSITIVE 1 BLADE DISPOSABLE SENSITIVE 12CT</c:v>
                </c:pt>
                <c:pt idx="4">
                  <c:v>BIC FLEX 5 HYBRID 5 BLADE HYBRID NORMAL 7CT</c:v>
                </c:pt>
                <c:pt idx="5">
                  <c:v>BIC FLEX 5 HYBRID 5 BLADE HYBRID NORMAL 12CT</c:v>
                </c:pt>
                <c:pt idx="6">
                  <c:v>BIC FLEX 5 BLACK WHITE 5 BLADE DISPOSABLE NORMAL 2CT</c:v>
                </c:pt>
                <c:pt idx="7">
                  <c:v>GILLETTE FUSION 5 5 BLADE REFILL NORMAL 4CT</c:v>
                </c:pt>
                <c:pt idx="8">
                  <c:v>GILLETTE MACH 3 3 BLADE REFILL NORMAL 4CT</c:v>
                </c:pt>
                <c:pt idx="9">
                  <c:v>GILLETTE FUSION 5 5 BLADE REFILL NORMAL 12CT</c:v>
                </c:pt>
                <c:pt idx="10">
                  <c:v>GILLETTE FUSION 5 5 BLADE REFILL NORMAL 8CT</c:v>
                </c:pt>
                <c:pt idx="11">
                  <c:v>GILLETTE FUSION 5 5 BLADE RAZOR NORMAL 5CT</c:v>
                </c:pt>
                <c:pt idx="12">
                  <c:v>HARRY'S 5 BLADE REFILL NORMAL 4CT</c:v>
                </c:pt>
                <c:pt idx="13">
                  <c:v>HARRY'S 5 BLADE REFILL NORMAL 8CT</c:v>
                </c:pt>
                <c:pt idx="14">
                  <c:v>HARRY'S 5 BLADE REFILL NORMAL 12CT</c:v>
                </c:pt>
                <c:pt idx="15">
                  <c:v>HARRY'S ORANGE 5 BLADE RAZOR NORMAL 5CT</c:v>
                </c:pt>
                <c:pt idx="16">
                  <c:v>HARRY'S SURF BLUE 5 BLADE RAZOR NORMAL 2CT</c:v>
                </c:pt>
              </c:strCache>
            </c:strRef>
          </c:cat>
          <c:val>
            <c:numRef>
              <c:f>Sheet1!$B$2:$B$18</c:f>
              <c:numCache>
                <c:formatCode>General</c:formatCode>
                <c:ptCount val="17"/>
                <c:pt idx="0">
                  <c:v>16.85</c:v>
                </c:pt>
                <c:pt idx="1">
                  <c:v>14.99</c:v>
                </c:pt>
                <c:pt idx="2">
                  <c:v>6.92</c:v>
                </c:pt>
                <c:pt idx="3">
                  <c:v>3.43</c:v>
                </c:pt>
                <c:pt idx="4">
                  <c:v>12.82</c:v>
                </c:pt>
                <c:pt idx="5">
                  <c:v>19.98</c:v>
                </c:pt>
                <c:pt idx="6">
                  <c:v>6.94</c:v>
                </c:pt>
                <c:pt idx="7">
                  <c:v>18.42</c:v>
                </c:pt>
                <c:pt idx="8">
                  <c:v>12.46</c:v>
                </c:pt>
                <c:pt idx="9">
                  <c:v>40.1</c:v>
                </c:pt>
                <c:pt idx="10">
                  <c:v>29.97</c:v>
                </c:pt>
                <c:pt idx="11">
                  <c:v>23.89</c:v>
                </c:pt>
                <c:pt idx="12">
                  <c:v>9.97</c:v>
                </c:pt>
                <c:pt idx="13">
                  <c:v>16.96</c:v>
                </c:pt>
                <c:pt idx="14">
                  <c:v>23.97</c:v>
                </c:pt>
                <c:pt idx="15">
                  <c:v>16.01</c:v>
                </c:pt>
                <c:pt idx="16">
                  <c:v>9.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7.19</a:t>
                    </a:r>
                  </a:p>
                </c:rich>
              </c:tx>
              <c:dLblPos val="t"/>
              <c:showLegendKey val="0"/>
              <c:showVal val="1"/>
              <c:showCatName val="0"/>
              <c:showSerName val="0"/>
              <c:showPercent val="0"/>
              <c:showBubbleSize val="0"/>
            </c:dLbl>
            <c:dLbl>
              <c:idx val="1"/>
              <c:tx>
                <c:rich>
                  <a:bodyPr/>
                  <a:lstStyle/>
                  <a:p>
                    <a:r>
                      <a:t>7.21</a:t>
                    </a:r>
                  </a:p>
                </c:rich>
              </c:tx>
              <c:dLblPos val="t"/>
              <c:showLegendKey val="0"/>
              <c:showVal val="1"/>
              <c:showCatName val="0"/>
              <c:showSerName val="0"/>
              <c:showPercent val="0"/>
              <c:showBubbleSize val="0"/>
            </c:dLbl>
            <c:dLbl>
              <c:idx val="2"/>
              <c:tx>
                <c:rich>
                  <a:bodyPr/>
                  <a:lstStyle/>
                  <a:p>
                    <a:r>
                      <a:t>11.82</a:t>
                    </a:r>
                  </a:p>
                </c:rich>
              </c:tx>
              <c:dLblPos val="t"/>
              <c:showLegendKey val="0"/>
              <c:showVal val="1"/>
              <c:showCatName val="0"/>
              <c:showSerName val="0"/>
              <c:showPercent val="0"/>
              <c:showBubbleSize val="0"/>
            </c:dLbl>
            <c:dLbl>
              <c:idx val="3"/>
              <c:tx>
                <c:rich>
                  <a:bodyPr/>
                  <a:lstStyle/>
                  <a:p>
                    <a:r>
                      <a:t>20.21</a:t>
                    </a:r>
                  </a:p>
                </c:rich>
              </c:tx>
              <c:dLblPos val="t"/>
              <c:showLegendKey val="0"/>
              <c:showVal val="1"/>
              <c:showCatName val="0"/>
              <c:showSerName val="0"/>
              <c:showPercent val="0"/>
              <c:showBubbleSize val="0"/>
            </c:dLbl>
            <c:dLbl>
              <c:idx val="4"/>
              <c:tx>
                <c:rich>
                  <a:bodyPr/>
                  <a:lstStyle/>
                  <a:p>
                    <a:r>
                      <a:t>15.09</a:t>
                    </a:r>
                  </a:p>
                </c:rich>
              </c:tx>
              <c:dLblPos val="t"/>
              <c:showLegendKey val="0"/>
              <c:showVal val="1"/>
              <c:showCatName val="0"/>
              <c:showSerName val="0"/>
              <c:showPercent val="0"/>
              <c:showBubbleSize val="0"/>
            </c:dLbl>
            <c:dLbl>
              <c:idx val="5"/>
              <c:tx>
                <c:rich>
                  <a:bodyPr/>
                  <a:lstStyle/>
                  <a:p>
                    <a:r>
                      <a:t>11.22</a:t>
                    </a:r>
                  </a:p>
                </c:rich>
              </c:tx>
              <c:dLblPos val="t"/>
              <c:showLegendKey val="0"/>
              <c:showVal val="1"/>
              <c:showCatName val="0"/>
              <c:showSerName val="0"/>
              <c:showPercent val="0"/>
              <c:showBubbleSize val="0"/>
            </c:dLbl>
            <c:dLbl>
              <c:idx val="6"/>
              <c:tx>
                <c:rich>
                  <a:bodyPr/>
                  <a:lstStyle/>
                  <a:p>
                    <a:r>
                      <a:t>14.86</a:t>
                    </a:r>
                  </a:p>
                </c:rich>
              </c:tx>
              <c:dLblPos val="t"/>
              <c:showLegendKey val="0"/>
              <c:showVal val="1"/>
              <c:showCatName val="0"/>
              <c:showSerName val="0"/>
              <c:showPercent val="0"/>
              <c:showBubbleSize val="0"/>
            </c:dLbl>
            <c:dLbl>
              <c:idx val="7"/>
              <c:tx>
                <c:rich>
                  <a:bodyPr/>
                  <a:lstStyle/>
                  <a:p>
                    <a:r>
                      <a:t>15.58</a:t>
                    </a:r>
                  </a:p>
                </c:rich>
              </c:tx>
              <c:dLblPos val="t"/>
              <c:showLegendKey val="0"/>
              <c:showVal val="1"/>
              <c:showCatName val="0"/>
              <c:showSerName val="0"/>
              <c:showPercent val="0"/>
              <c:showBubbleSize val="0"/>
            </c:dLbl>
            <c:dLbl>
              <c:idx val="8"/>
              <c:tx>
                <c:rich>
                  <a:bodyPr/>
                  <a:lstStyle/>
                  <a:p>
                    <a:r>
                      <a:t>10.58</a:t>
                    </a:r>
                  </a:p>
                </c:rich>
              </c:tx>
              <c:dLblPos val="t"/>
              <c:showLegendKey val="0"/>
              <c:showVal val="1"/>
              <c:showCatName val="0"/>
              <c:showSerName val="0"/>
              <c:showPercent val="0"/>
              <c:showBubbleSize val="0"/>
            </c:dLbl>
            <c:dLbl>
              <c:idx val="9"/>
              <c:tx>
                <c:rich>
                  <a:bodyPr/>
                  <a:lstStyle/>
                  <a:p>
                    <a:r>
                      <a:t>27.56</a:t>
                    </a:r>
                  </a:p>
                </c:rich>
              </c:tx>
              <c:dLblPos val="t"/>
              <c:showLegendKey val="0"/>
              <c:showVal val="1"/>
              <c:showCatName val="0"/>
              <c:showSerName val="0"/>
              <c:showPercent val="0"/>
              <c:showBubbleSize val="0"/>
            </c:dLbl>
            <c:dLbl>
              <c:idx val="10"/>
              <c:tx>
                <c:rich>
                  <a:bodyPr/>
                  <a:lstStyle/>
                  <a:p>
                    <a:r>
                      <a:t>11.69</a:t>
                    </a:r>
                  </a:p>
                </c:rich>
              </c:tx>
              <c:dLblPos val="t"/>
              <c:showLegendKey val="0"/>
              <c:showVal val="1"/>
              <c:showCatName val="0"/>
              <c:showSerName val="0"/>
              <c:showPercent val="0"/>
              <c:showBubbleSize val="0"/>
            </c:dLbl>
            <c:dLbl>
              <c:idx val="11"/>
              <c:tx>
                <c:rich>
                  <a:bodyPr/>
                  <a:lstStyle/>
                  <a:p>
                    <a:r>
                      <a:t>17.52</a:t>
                    </a:r>
                  </a:p>
                </c:rich>
              </c:tx>
              <c:dLblPos val="t"/>
              <c:showLegendKey val="0"/>
              <c:showVal val="1"/>
              <c:showCatName val="0"/>
              <c:showSerName val="0"/>
              <c:showPercent val="0"/>
              <c:showBubbleSize val="0"/>
            </c:dLbl>
            <c:dLbl>
              <c:idx val="12"/>
              <c:tx>
                <c:rich>
                  <a:bodyPr/>
                  <a:lstStyle/>
                  <a:p>
                    <a:r>
                      <a:t>14.1</a:t>
                    </a:r>
                  </a:p>
                </c:rich>
              </c:tx>
              <c:dLblPos val="t"/>
              <c:showLegendKey val="0"/>
              <c:showVal val="1"/>
              <c:showCatName val="0"/>
              <c:showSerName val="0"/>
              <c:showPercent val="0"/>
              <c:showBubbleSize val="0"/>
            </c:dLbl>
            <c:dLbl>
              <c:idx val="13"/>
              <c:tx>
                <c:rich>
                  <a:bodyPr/>
                  <a:lstStyle/>
                  <a:p>
                    <a:r>
                      <a:t>12.29</a:t>
                    </a:r>
                  </a:p>
                </c:rich>
              </c:tx>
              <c:dLblPos val="t"/>
              <c:showLegendKey val="0"/>
              <c:showVal val="1"/>
              <c:showCatName val="0"/>
              <c:showSerName val="0"/>
              <c:showPercent val="0"/>
              <c:showBubbleSize val="0"/>
            </c:dLbl>
            <c:dLbl>
              <c:idx val="14"/>
              <c:tx>
                <c:rich>
                  <a:bodyPr/>
                  <a:lstStyle/>
                  <a:p>
                    <a:r>
                      <a:t>10.0</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CHICK XTREME 3 SENSITIVE BLACK 3 BLADE DISPOSABLE SENSITIVE 4CT</c:v>
                </c:pt>
                <c:pt idx="1">
                  <c:v>SCHICK XTREME 2 SENSITIVE 2 BLADE DISPOSABLE NORMAL 12CT</c:v>
                </c:pt>
                <c:pt idx="2">
                  <c:v>SCHICK XTREME 3 SENSITIVE GREEN 3 BLADE DISPOSABLE SENSITIVE 8CT</c:v>
                </c:pt>
                <c:pt idx="3">
                  <c:v>SCHICK XTREME 3 SENSITIVE BLACK GREEN 3 BLADE DISPOSABLE SENSITIVE 20CT</c:v>
                </c:pt>
                <c:pt idx="4">
                  <c:v>SCHICK XTREME 3 SENSITIVE BLACK GREEN 3 BLADE DISPOSABLE SENSITIVE 12CT</c:v>
                </c:pt>
                <c:pt idx="5">
                  <c:v>HYDRO 5 5 BLADE DISPOSABLE NORMAL 3CT</c:v>
                </c:pt>
                <c:pt idx="6">
                  <c:v>SCHICK XTREME 3 SENSITIVE GREEN 3 BLADE DISPOSABLE SENSITIVE 12CT</c:v>
                </c:pt>
                <c:pt idx="7">
                  <c:v>HYDRO 5 SENSITIVE 5 BLADE REFILL SENSITIVE 6CT</c:v>
                </c:pt>
                <c:pt idx="8">
                  <c:v>HYDRO 5 SENSITIVE 5 BLADE RAZOR SENSITIVE 3CT</c:v>
                </c:pt>
                <c:pt idx="9">
                  <c:v>HYDRO 5 SENSITIVE 5 BLADE REFILL SENSITIVE 12CT</c:v>
                </c:pt>
                <c:pt idx="10">
                  <c:v>HYDRO 5 DRY SKIN 5 BLADE RAZOR DRY 3CT</c:v>
                </c:pt>
                <c:pt idx="11">
                  <c:v>HYDRO 5 DRY SKIN 5 BLADE REFILL DRY 6CT</c:v>
                </c:pt>
                <c:pt idx="12">
                  <c:v>SCHICK QUATTRO FOR MEN 4 BLADE REFILL NORMAL 8CT</c:v>
                </c:pt>
                <c:pt idx="13">
                  <c:v>SCHICK QUATTRO FOR MEN 4 BLADE RAZOR NORMAL 4CT</c:v>
                </c:pt>
                <c:pt idx="14">
                  <c:v>HYDRO 5 SENSITIVE GRAY HOLIDAY GIFT PACK 5 BLADE RAZOR SENSITIVE 3CT</c:v>
                </c:pt>
              </c:strCache>
            </c:strRef>
          </c:cat>
          <c:val>
            <c:numRef>
              <c:f>Sheet1!$B$2:$B$16</c:f>
              <c:numCache>
                <c:formatCode>General</c:formatCode>
                <c:ptCount val="15"/>
                <c:pt idx="0">
                  <c:v>7.19</c:v>
                </c:pt>
                <c:pt idx="1">
                  <c:v>7.21</c:v>
                </c:pt>
                <c:pt idx="2">
                  <c:v>11.82</c:v>
                </c:pt>
                <c:pt idx="3">
                  <c:v>20.21</c:v>
                </c:pt>
                <c:pt idx="4">
                  <c:v>15.09</c:v>
                </c:pt>
                <c:pt idx="5">
                  <c:v>11.22</c:v>
                </c:pt>
                <c:pt idx="6">
                  <c:v>14.86</c:v>
                </c:pt>
                <c:pt idx="7">
                  <c:v>15.58</c:v>
                </c:pt>
                <c:pt idx="8">
                  <c:v>10.58</c:v>
                </c:pt>
                <c:pt idx="9">
                  <c:v>27.56</c:v>
                </c:pt>
                <c:pt idx="10">
                  <c:v>11.69</c:v>
                </c:pt>
                <c:pt idx="11">
                  <c:v>17.52</c:v>
                </c:pt>
                <c:pt idx="12">
                  <c:v>14.1</c:v>
                </c:pt>
                <c:pt idx="13">
                  <c:v>12.29</c:v>
                </c:pt>
                <c:pt idx="14">
                  <c:v>10.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5.22</a:t>
                    </a:r>
                  </a:p>
                </c:rich>
              </c:tx>
              <c:showLegendKey val="0"/>
              <c:showVal val="1"/>
              <c:showCatName val="0"/>
              <c:showSerName val="0"/>
              <c:showPercent val="0"/>
              <c:showBubbleSize val="0"/>
            </c:dLbl>
            <c:dLbl>
              <c:idx val="1"/>
              <c:tx>
                <c:rich>
                  <a:bodyPr/>
                  <a:lstStyle/>
                  <a:p>
                    <a:r>
                      <a:t>10.59</a:t>
                    </a:r>
                  </a:p>
                </c:rich>
              </c:tx>
              <c:showLegendKey val="0"/>
              <c:showVal val="1"/>
              <c:showCatName val="0"/>
              <c:showSerName val="0"/>
              <c:showPercent val="0"/>
              <c:showBubbleSize val="0"/>
            </c:dLbl>
            <c:dLbl>
              <c:idx val="2"/>
              <c:tx>
                <c:rich>
                  <a:bodyPr/>
                  <a:lstStyle/>
                  <a:p>
                    <a:r>
                      <a:t>26.91</a:t>
                    </a:r>
                  </a:p>
                </c:rich>
              </c:tx>
              <c:showLegendKey val="0"/>
              <c:showVal val="1"/>
              <c:showCatName val="0"/>
              <c:showSerName val="0"/>
              <c:showPercent val="0"/>
              <c:showBubbleSize val="0"/>
            </c:dLbl>
            <c:dLbl>
              <c:idx val="3"/>
              <c:tx>
                <c:rich>
                  <a:bodyPr/>
                  <a:lstStyle/>
                  <a:p>
                    <a:r>
                      <a:t>16.88</a:t>
                    </a:r>
                  </a:p>
                </c:rich>
              </c:tx>
              <c:showLegendKey val="0"/>
              <c:showVal val="1"/>
              <c:showCatName val="0"/>
              <c:showSerName val="0"/>
              <c:showPercent val="0"/>
              <c:showBubbleSize val="0"/>
            </c:dLbl>
            <c:dLbl>
              <c:idx val="4"/>
              <c:tx>
                <c:rich>
                  <a:bodyPr/>
                  <a:lstStyle/>
                  <a:p>
                    <a:r>
                      <a:t>13.58</a:t>
                    </a:r>
                  </a:p>
                </c:rich>
              </c:tx>
              <c:showLegendKey val="0"/>
              <c:showVal val="1"/>
              <c:showCatName val="0"/>
              <c:showSerName val="0"/>
              <c:showPercent val="0"/>
              <c:showBubbleSize val="0"/>
            </c:dLbl>
            <c:dLbl>
              <c:idx val="5"/>
              <c:tx>
                <c:rich>
                  <a:bodyPr/>
                  <a:lstStyle/>
                  <a:p>
                    <a:r>
                      <a:t>19.45</a:t>
                    </a:r>
                  </a:p>
                </c:rich>
              </c:tx>
              <c:showLegendKey val="0"/>
              <c:showVal val="1"/>
              <c:showCatName val="0"/>
              <c:showSerName val="0"/>
              <c:showPercent val="0"/>
              <c:showBubbleSize val="0"/>
            </c:dLbl>
            <c:dLbl>
              <c:idx val="6"/>
              <c:tx>
                <c:rich>
                  <a:bodyPr/>
                  <a:lstStyle/>
                  <a:p>
                    <a:r>
                      <a:t>42.25</a:t>
                    </a:r>
                  </a:p>
                </c:rich>
              </c:tx>
              <c:showLegendKey val="0"/>
              <c:showVal val="1"/>
              <c:showCatName val="0"/>
              <c:showSerName val="0"/>
              <c:showPercent val="0"/>
              <c:showBubbleSize val="0"/>
            </c:dLbl>
            <c:dLbl>
              <c:idx val="7"/>
              <c:tx>
                <c:rich>
                  <a:bodyPr/>
                  <a:lstStyle/>
                  <a:p>
                    <a:r>
                      <a:t>13.06</a:t>
                    </a:r>
                  </a:p>
                </c:rich>
              </c:tx>
              <c:showLegendKey val="0"/>
              <c:showVal val="1"/>
              <c:showCatName val="0"/>
              <c:showSerName val="0"/>
              <c:showPercent val="0"/>
              <c:showBubbleSize val="0"/>
            </c:dLbl>
            <c:dLbl>
              <c:idx val="8"/>
              <c:tx>
                <c:rich>
                  <a:bodyPr/>
                  <a:lstStyle/>
                  <a:p>
                    <a:r>
                      <a:t>32.12</a:t>
                    </a:r>
                  </a:p>
                </c:rich>
              </c:tx>
              <c:showLegendKey val="0"/>
              <c:showVal val="1"/>
              <c:showCatName val="0"/>
              <c:showSerName val="0"/>
              <c:showPercent val="0"/>
              <c:showBubbleSize val="0"/>
            </c:dLbl>
            <c:dLbl>
              <c:idx val="9"/>
              <c:tx>
                <c:rich>
                  <a:bodyPr/>
                  <a:lstStyle/>
                  <a:p>
                    <a:r>
                      <a:t>42.09</a:t>
                    </a:r>
                  </a:p>
                </c:rich>
              </c:tx>
              <c:showLegendKey val="0"/>
              <c:showVal val="1"/>
              <c:showCatName val="0"/>
              <c:showSerName val="0"/>
              <c:showPercent val="0"/>
              <c:showBubbleSize val="0"/>
            </c:dLbl>
            <c:dLbl>
              <c:idx val="10"/>
              <c:tx>
                <c:rich>
                  <a:bodyPr/>
                  <a:lstStyle/>
                  <a:p>
                    <a:r>
                      <a:t>10.19</a:t>
                    </a:r>
                  </a:p>
                </c:rich>
              </c:tx>
              <c:showLegendKey val="0"/>
              <c:showVal val="1"/>
              <c:showCatName val="0"/>
              <c:showSerName val="0"/>
              <c:showPercent val="0"/>
              <c:showBubbleSize val="0"/>
            </c:dLbl>
            <c:dLbl>
              <c:idx val="11"/>
              <c:tx>
                <c:rich>
                  <a:bodyPr/>
                  <a:lstStyle/>
                  <a:p>
                    <a:r>
                      <a:t>17.2</a:t>
                    </a:r>
                  </a:p>
                </c:rich>
              </c:tx>
              <c:showLegendKey val="0"/>
              <c:showVal val="1"/>
              <c:showCatName val="0"/>
              <c:showSerName val="0"/>
              <c:showPercent val="0"/>
              <c:showBubbleSize val="0"/>
            </c:dLbl>
            <c:dLbl>
              <c:idx val="12"/>
              <c:tx>
                <c:rich>
                  <a:bodyPr/>
                  <a:lstStyle/>
                  <a:p>
                    <a:r>
                      <a:t>24.64</a:t>
                    </a:r>
                  </a:p>
                </c:rich>
              </c:tx>
              <c:showLegendKey val="0"/>
              <c:showVal val="1"/>
              <c:showCatName val="0"/>
              <c:showSerName val="0"/>
              <c:showPercent val="0"/>
              <c:showBubbleSize val="0"/>
            </c:dLbl>
            <c:dLbl>
              <c:idx val="13"/>
              <c:tx>
                <c:rich>
                  <a:bodyPr/>
                  <a:lstStyle/>
                  <a:p>
                    <a:r>
                      <a:t>16.3</a:t>
                    </a:r>
                  </a:p>
                </c:rich>
              </c:tx>
              <c:showLegendKey val="0"/>
              <c:showVal val="1"/>
              <c:showCatName val="0"/>
              <c:showSerName val="0"/>
              <c:showPercent val="0"/>
              <c:showBubbleSize val="0"/>
            </c:dLbl>
            <c:dLbl>
              <c:idx val="14"/>
              <c:tx>
                <c:rich>
                  <a:bodyPr/>
                  <a:lstStyle/>
                  <a:p>
                    <a:r>
                      <a:t>18.77</a:t>
                    </a:r>
                  </a:p>
                </c:rich>
              </c:tx>
              <c:showLegendKey val="0"/>
              <c:showVal val="1"/>
              <c:showCatName val="0"/>
              <c:showSerName val="0"/>
              <c:showPercent val="0"/>
              <c:showBubbleSize val="0"/>
            </c:dLbl>
            <c:dLbl>
              <c:idx val="15"/>
              <c:tx>
                <c:rich>
                  <a:bodyPr/>
                  <a:lstStyle/>
                  <a:p>
                    <a:r>
                      <a:t>45.2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HYDRO 5 SENSITIVE 5 BLADE REFILL SENSITIVE 6CT</c:v>
                </c:pt>
                <c:pt idx="1">
                  <c:v>HYDRO 5 SENSITIVE 5 BLADE RAZOR SENSITIVE 3CT</c:v>
                </c:pt>
                <c:pt idx="2">
                  <c:v>HYDRO 5 SENSITIVE 5 BLADE REFILL SENSITIVE 12CT</c:v>
                </c:pt>
                <c:pt idx="3">
                  <c:v>HYDRO 5 DRY SKIN 5 BLADE REFILL DRY 6CT</c:v>
                </c:pt>
                <c:pt idx="4">
                  <c:v>SCHICK QUATTRO FOR MEN 4 BLADE REFILL NORMAL 8CT</c:v>
                </c:pt>
                <c:pt idx="5">
                  <c:v>GILLETTE FUSION 5 5 BLADE REFILL NORMAL 4CT</c:v>
                </c:pt>
                <c:pt idx="6">
                  <c:v>GILLETTE FUSION 5 5 BLADE REFILL NORMAL 16CT</c:v>
                </c:pt>
                <c:pt idx="7">
                  <c:v>GILLETTE MACH 3 3 BLADE REFILL NORMAL 4CT</c:v>
                </c:pt>
                <c:pt idx="8">
                  <c:v>GILLETTE FUSION 5 5 BLADE REFILL NORMAL 8CT</c:v>
                </c:pt>
                <c:pt idx="9">
                  <c:v>GILLETTE FUSION 5 5 BLADE REFILL NORMAL 12CT</c:v>
                </c:pt>
                <c:pt idx="10">
                  <c:v>HARRY'S 5 BLADE REFILL NORMAL 4CT</c:v>
                </c:pt>
                <c:pt idx="11">
                  <c:v>HARRY'S 5 BLADE REFILL NORMAL 8CT</c:v>
                </c:pt>
                <c:pt idx="12">
                  <c:v>HARRY'S 5 BLADE REFILL NORMAL 12CT</c:v>
                </c:pt>
                <c:pt idx="13">
                  <c:v>HARRY'S ORANGE 5 BLADE RAZOR NORMAL 5CT</c:v>
                </c:pt>
                <c:pt idx="14">
                  <c:v>HARRY'S SILVER 5 BLADE RAZOR NORMAL 5CT</c:v>
                </c:pt>
                <c:pt idx="15">
                  <c:v>PHILIPS NORELCO ONE BLADE 1 BLADE REFILL NORMAL 5CT</c:v>
                </c:pt>
              </c:strCache>
            </c:strRef>
          </c:cat>
          <c:val>
            <c:numRef>
              <c:f>Sheet1!$B$2:$B$17</c:f>
              <c:numCache>
                <c:formatCode>General</c:formatCode>
                <c:ptCount val="16"/>
                <c:pt idx="0">
                  <c:v>15.22</c:v>
                </c:pt>
                <c:pt idx="1">
                  <c:v>10.59</c:v>
                </c:pt>
                <c:pt idx="2">
                  <c:v>26.91</c:v>
                </c:pt>
                <c:pt idx="3">
                  <c:v>16.88</c:v>
                </c:pt>
                <c:pt idx="4">
                  <c:v>13.58</c:v>
                </c:pt>
                <c:pt idx="5">
                  <c:v>19.45</c:v>
                </c:pt>
                <c:pt idx="6">
                  <c:v>42.25</c:v>
                </c:pt>
                <c:pt idx="7">
                  <c:v>13.06</c:v>
                </c:pt>
                <c:pt idx="8">
                  <c:v>32.12</c:v>
                </c:pt>
                <c:pt idx="9">
                  <c:v>42.09</c:v>
                </c:pt>
                <c:pt idx="10">
                  <c:v>10.19</c:v>
                </c:pt>
                <c:pt idx="11">
                  <c:v>17.2</c:v>
                </c:pt>
                <c:pt idx="12">
                  <c:v>24.64</c:v>
                </c:pt>
                <c:pt idx="13">
                  <c:v>16.3</c:v>
                </c:pt>
                <c:pt idx="14">
                  <c:v>18.77</c:v>
                </c:pt>
                <c:pt idx="15">
                  <c:v>45.2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8.96</a:t>
                    </a:r>
                  </a:p>
                </c:rich>
              </c:tx>
              <c:showLegendKey val="0"/>
              <c:showVal val="1"/>
              <c:showCatName val="0"/>
              <c:showSerName val="0"/>
              <c:showPercent val="0"/>
              <c:showBubbleSize val="0"/>
            </c:dLbl>
            <c:dLbl>
              <c:idx val="1"/>
              <c:tx>
                <c:rich>
                  <a:bodyPr/>
                  <a:lstStyle/>
                  <a:p>
                    <a:r>
                      <a:t>20.0</a:t>
                    </a:r>
                  </a:p>
                </c:rich>
              </c:tx>
              <c:showLegendKey val="0"/>
              <c:showVal val="1"/>
              <c:showCatName val="0"/>
              <c:showSerName val="0"/>
              <c:showPercent val="0"/>
              <c:showBubbleSize val="0"/>
            </c:dLbl>
            <c:dLbl>
              <c:idx val="2"/>
              <c:tx>
                <c:rich>
                  <a:bodyPr/>
                  <a:lstStyle/>
                  <a:p>
                    <a:r>
                      <a:t>8.46</a:t>
                    </a:r>
                  </a:p>
                </c:rich>
              </c:tx>
              <c:showLegendKey val="0"/>
              <c:showVal val="1"/>
              <c:showCatName val="0"/>
              <c:showSerName val="0"/>
              <c:showPercent val="0"/>
              <c:showBubbleSize val="0"/>
            </c:dLbl>
            <c:dLbl>
              <c:idx val="3"/>
              <c:tx>
                <c:rich>
                  <a:bodyPr/>
                  <a:lstStyle/>
                  <a:p>
                    <a:r>
                      <a:t>15.87</a:t>
                    </a:r>
                  </a:p>
                </c:rich>
              </c:tx>
              <c:showLegendKey val="0"/>
              <c:showVal val="1"/>
              <c:showCatName val="0"/>
              <c:showSerName val="0"/>
              <c:showPercent val="0"/>
              <c:showBubbleSize val="0"/>
            </c:dLbl>
            <c:dLbl>
              <c:idx val="4"/>
              <c:tx>
                <c:rich>
                  <a:bodyPr/>
                  <a:lstStyle/>
                  <a:p>
                    <a:r>
                      <a:t>19.45</a:t>
                    </a:r>
                  </a:p>
                </c:rich>
              </c:tx>
              <c:showLegendKey val="0"/>
              <c:showVal val="1"/>
              <c:showCatName val="0"/>
              <c:showSerName val="0"/>
              <c:showPercent val="0"/>
              <c:showBubbleSize val="0"/>
            </c:dLbl>
            <c:dLbl>
              <c:idx val="5"/>
              <c:tx>
                <c:rich>
                  <a:bodyPr/>
                  <a:lstStyle/>
                  <a:p>
                    <a:r>
                      <a:t>42.25</a:t>
                    </a:r>
                  </a:p>
                </c:rich>
              </c:tx>
              <c:showLegendKey val="0"/>
              <c:showVal val="1"/>
              <c:showCatName val="0"/>
              <c:showSerName val="0"/>
              <c:showPercent val="0"/>
              <c:showBubbleSize val="0"/>
            </c:dLbl>
            <c:dLbl>
              <c:idx val="6"/>
              <c:tx>
                <c:rich>
                  <a:bodyPr/>
                  <a:lstStyle/>
                  <a:p>
                    <a:r>
                      <a:t>13.06</a:t>
                    </a:r>
                  </a:p>
                </c:rich>
              </c:tx>
              <c:showLegendKey val="0"/>
              <c:showVal val="1"/>
              <c:showCatName val="0"/>
              <c:showSerName val="0"/>
              <c:showPercent val="0"/>
              <c:showBubbleSize val="0"/>
            </c:dLbl>
            <c:dLbl>
              <c:idx val="7"/>
              <c:tx>
                <c:rich>
                  <a:bodyPr/>
                  <a:lstStyle/>
                  <a:p>
                    <a:r>
                      <a:t>32.12</a:t>
                    </a:r>
                  </a:p>
                </c:rich>
              </c:tx>
              <c:showLegendKey val="0"/>
              <c:showVal val="1"/>
              <c:showCatName val="0"/>
              <c:showSerName val="0"/>
              <c:showPercent val="0"/>
              <c:showBubbleSize val="0"/>
            </c:dLbl>
            <c:dLbl>
              <c:idx val="8"/>
              <c:tx>
                <c:rich>
                  <a:bodyPr/>
                  <a:lstStyle/>
                  <a:p>
                    <a:r>
                      <a:t>42.09</a:t>
                    </a:r>
                  </a:p>
                </c:rich>
              </c:tx>
              <c:showLegendKey val="0"/>
              <c:showVal val="1"/>
              <c:showCatName val="0"/>
              <c:showSerName val="0"/>
              <c:showPercent val="0"/>
              <c:showBubbleSize val="0"/>
            </c:dLbl>
            <c:dLbl>
              <c:idx val="9"/>
              <c:tx>
                <c:rich>
                  <a:bodyPr/>
                  <a:lstStyle/>
                  <a:p>
                    <a:r>
                      <a:t>10.19</a:t>
                    </a:r>
                  </a:p>
                </c:rich>
              </c:tx>
              <c:showLegendKey val="0"/>
              <c:showVal val="1"/>
              <c:showCatName val="0"/>
              <c:showSerName val="0"/>
              <c:showPercent val="0"/>
              <c:showBubbleSize val="0"/>
            </c:dLbl>
            <c:dLbl>
              <c:idx val="10"/>
              <c:tx>
                <c:rich>
                  <a:bodyPr/>
                  <a:lstStyle/>
                  <a:p>
                    <a:r>
                      <a:t>17.2</a:t>
                    </a:r>
                  </a:p>
                </c:rich>
              </c:tx>
              <c:showLegendKey val="0"/>
              <c:showVal val="1"/>
              <c:showCatName val="0"/>
              <c:showSerName val="0"/>
              <c:showPercent val="0"/>
              <c:showBubbleSize val="0"/>
            </c:dLbl>
            <c:dLbl>
              <c:idx val="11"/>
              <c:tx>
                <c:rich>
                  <a:bodyPr/>
                  <a:lstStyle/>
                  <a:p>
                    <a:r>
                      <a:t>24.64</a:t>
                    </a:r>
                  </a:p>
                </c:rich>
              </c:tx>
              <c:showLegendKey val="0"/>
              <c:showVal val="1"/>
              <c:showCatName val="0"/>
              <c:showSerName val="0"/>
              <c:showPercent val="0"/>
              <c:showBubbleSize val="0"/>
            </c:dLbl>
            <c:dLbl>
              <c:idx val="12"/>
              <c:tx>
                <c:rich>
                  <a:bodyPr/>
                  <a:lstStyle/>
                  <a:p>
                    <a:r>
                      <a:t>16.3</a:t>
                    </a:r>
                  </a:p>
                </c:rich>
              </c:tx>
              <c:showLegendKey val="0"/>
              <c:showVal val="1"/>
              <c:showCatName val="0"/>
              <c:showSerName val="0"/>
              <c:showPercent val="0"/>
              <c:showBubbleSize val="0"/>
            </c:dLbl>
            <c:dLbl>
              <c:idx val="13"/>
              <c:tx>
                <c:rich>
                  <a:bodyPr/>
                  <a:lstStyle/>
                  <a:p>
                    <a:r>
                      <a:t>18.77</a:t>
                    </a:r>
                  </a:p>
                </c:rich>
              </c:tx>
              <c:showLegendKey val="0"/>
              <c:showVal val="1"/>
              <c:showCatName val="0"/>
              <c:showSerName val="0"/>
              <c:showPercent val="0"/>
              <c:showBubbleSize val="0"/>
            </c:dLbl>
            <c:dLbl>
              <c:idx val="14"/>
              <c:tx>
                <c:rich>
                  <a:bodyPr/>
                  <a:lstStyle/>
                  <a:p>
                    <a:r>
                      <a:t>45.2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QUATE EASY FIT 5 5 BLADE REFILL NORMAL 4CT</c:v>
                </c:pt>
                <c:pt idx="1">
                  <c:v>EQUATE EASY FIT 5 5 BLADE REFILL NORMAL 12CT</c:v>
                </c:pt>
                <c:pt idx="2">
                  <c:v>EQUATE EASY FIT 5 5 BLADE RAZOR NORMAL 2CT</c:v>
                </c:pt>
                <c:pt idx="3">
                  <c:v>EQUATE EASY FIT 5 5 BLADE REFILL NORMAL 8CT</c:v>
                </c:pt>
                <c:pt idx="4">
                  <c:v>GILLETTE FUSION 5 5 BLADE REFILL NORMAL 4CT</c:v>
                </c:pt>
                <c:pt idx="5">
                  <c:v>GILLETTE FUSION 5 5 BLADE REFILL NORMAL 16CT</c:v>
                </c:pt>
                <c:pt idx="6">
                  <c:v>GILLETTE MACH 3 3 BLADE REFILL NORMAL 4CT</c:v>
                </c:pt>
                <c:pt idx="7">
                  <c:v>GILLETTE FUSION 5 5 BLADE REFILL NORMAL 8CT</c:v>
                </c:pt>
                <c:pt idx="8">
                  <c:v>GILLETTE FUSION 5 5 BLADE REFILL NORMAL 12CT</c:v>
                </c:pt>
                <c:pt idx="9">
                  <c:v>HARRY'S 5 BLADE REFILL NORMAL 4CT</c:v>
                </c:pt>
                <c:pt idx="10">
                  <c:v>HARRY'S 5 BLADE REFILL NORMAL 8CT</c:v>
                </c:pt>
                <c:pt idx="11">
                  <c:v>HARRY'S 5 BLADE REFILL NORMAL 12CT</c:v>
                </c:pt>
                <c:pt idx="12">
                  <c:v>HARRY'S ORANGE 5 BLADE RAZOR NORMAL 5CT</c:v>
                </c:pt>
                <c:pt idx="13">
                  <c:v>HARRY'S SILVER 5 BLADE RAZOR NORMAL 5CT</c:v>
                </c:pt>
                <c:pt idx="14">
                  <c:v>PHILIPS NORELCO ONE BLADE 1 BLADE REFILL NORMAL 5CT</c:v>
                </c:pt>
              </c:strCache>
            </c:strRef>
          </c:cat>
          <c:val>
            <c:numRef>
              <c:f>Sheet1!$B$2:$B$16</c:f>
              <c:numCache>
                <c:formatCode>General</c:formatCode>
                <c:ptCount val="15"/>
                <c:pt idx="0">
                  <c:v>8.96</c:v>
                </c:pt>
                <c:pt idx="1">
                  <c:v>20.0</c:v>
                </c:pt>
                <c:pt idx="2">
                  <c:v>8.46</c:v>
                </c:pt>
                <c:pt idx="3">
                  <c:v>15.87</c:v>
                </c:pt>
                <c:pt idx="4">
                  <c:v>19.45</c:v>
                </c:pt>
                <c:pt idx="5">
                  <c:v>42.25</c:v>
                </c:pt>
                <c:pt idx="6">
                  <c:v>13.06</c:v>
                </c:pt>
                <c:pt idx="7">
                  <c:v>32.12</c:v>
                </c:pt>
                <c:pt idx="8">
                  <c:v>42.09</c:v>
                </c:pt>
                <c:pt idx="9">
                  <c:v>10.19</c:v>
                </c:pt>
                <c:pt idx="10">
                  <c:v>17.2</c:v>
                </c:pt>
                <c:pt idx="11">
                  <c:v>24.64</c:v>
                </c:pt>
                <c:pt idx="12">
                  <c:v>16.3</c:v>
                </c:pt>
                <c:pt idx="13">
                  <c:v>18.77</c:v>
                </c:pt>
                <c:pt idx="14">
                  <c:v>45.2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9</a:t>
                    </a:r>
                  </a:p>
                </c:rich>
              </c:tx>
              <c:showLegendKey val="0"/>
              <c:showVal val="1"/>
              <c:showCatName val="0"/>
              <c:showSerName val="0"/>
              <c:showPercent val="0"/>
              <c:showBubbleSize val="0"/>
            </c:dLbl>
            <c:dLbl>
              <c:idx val="1"/>
              <c:tx>
                <c:rich>
                  <a:bodyPr/>
                  <a:lstStyle/>
                  <a:p>
                    <a:r>
                      <a:t>15.52</a:t>
                    </a:r>
                  </a:p>
                </c:rich>
              </c:tx>
              <c:showLegendKey val="0"/>
              <c:showVal val="1"/>
              <c:showCatName val="0"/>
              <c:showSerName val="0"/>
              <c:showPercent val="0"/>
              <c:showBubbleSize val="0"/>
            </c:dLbl>
            <c:dLbl>
              <c:idx val="2"/>
              <c:tx>
                <c:rich>
                  <a:bodyPr/>
                  <a:lstStyle/>
                  <a:p>
                    <a:r>
                      <a:t>16.73</a:t>
                    </a:r>
                  </a:p>
                </c:rich>
              </c:tx>
              <c:showLegendKey val="0"/>
              <c:showVal val="1"/>
              <c:showCatName val="0"/>
              <c:showSerName val="0"/>
              <c:showPercent val="0"/>
              <c:showBubbleSize val="0"/>
            </c:dLbl>
            <c:dLbl>
              <c:idx val="3"/>
              <c:tx>
                <c:rich>
                  <a:bodyPr/>
                  <a:lstStyle/>
                  <a:p>
                    <a:r>
                      <a:t>10.6</a:t>
                    </a:r>
                  </a:p>
                </c:rich>
              </c:tx>
              <c:showLegendKey val="0"/>
              <c:showVal val="1"/>
              <c:showCatName val="0"/>
              <c:showSerName val="0"/>
              <c:showPercent val="0"/>
              <c:showBubbleSize val="0"/>
            </c:dLbl>
            <c:dLbl>
              <c:idx val="4"/>
              <c:tx>
                <c:rich>
                  <a:bodyPr/>
                  <a:lstStyle/>
                  <a:p>
                    <a:r>
                      <a:t>19.45</a:t>
                    </a:r>
                  </a:p>
                </c:rich>
              </c:tx>
              <c:showLegendKey val="0"/>
              <c:showVal val="1"/>
              <c:showCatName val="0"/>
              <c:showSerName val="0"/>
              <c:showPercent val="0"/>
              <c:showBubbleSize val="0"/>
            </c:dLbl>
            <c:dLbl>
              <c:idx val="5"/>
              <c:tx>
                <c:rich>
                  <a:bodyPr/>
                  <a:lstStyle/>
                  <a:p>
                    <a:r>
                      <a:t>42.25</a:t>
                    </a:r>
                  </a:p>
                </c:rich>
              </c:tx>
              <c:showLegendKey val="0"/>
              <c:showVal val="1"/>
              <c:showCatName val="0"/>
              <c:showSerName val="0"/>
              <c:showPercent val="0"/>
              <c:showBubbleSize val="0"/>
            </c:dLbl>
            <c:dLbl>
              <c:idx val="6"/>
              <c:tx>
                <c:rich>
                  <a:bodyPr/>
                  <a:lstStyle/>
                  <a:p>
                    <a:r>
                      <a:t>13.06</a:t>
                    </a:r>
                  </a:p>
                </c:rich>
              </c:tx>
              <c:showLegendKey val="0"/>
              <c:showVal val="1"/>
              <c:showCatName val="0"/>
              <c:showSerName val="0"/>
              <c:showPercent val="0"/>
              <c:showBubbleSize val="0"/>
            </c:dLbl>
            <c:dLbl>
              <c:idx val="7"/>
              <c:tx>
                <c:rich>
                  <a:bodyPr/>
                  <a:lstStyle/>
                  <a:p>
                    <a:r>
                      <a:t>32.12</a:t>
                    </a:r>
                  </a:p>
                </c:rich>
              </c:tx>
              <c:showLegendKey val="0"/>
              <c:showVal val="1"/>
              <c:showCatName val="0"/>
              <c:showSerName val="0"/>
              <c:showPercent val="0"/>
              <c:showBubbleSize val="0"/>
            </c:dLbl>
            <c:dLbl>
              <c:idx val="8"/>
              <c:tx>
                <c:rich>
                  <a:bodyPr/>
                  <a:lstStyle/>
                  <a:p>
                    <a:r>
                      <a:t>42.09</a:t>
                    </a:r>
                  </a:p>
                </c:rich>
              </c:tx>
              <c:showLegendKey val="0"/>
              <c:showVal val="1"/>
              <c:showCatName val="0"/>
              <c:showSerName val="0"/>
              <c:showPercent val="0"/>
              <c:showBubbleSize val="0"/>
            </c:dLbl>
            <c:dLbl>
              <c:idx val="9"/>
              <c:tx>
                <c:rich>
                  <a:bodyPr/>
                  <a:lstStyle/>
                  <a:p>
                    <a:r>
                      <a:t>10.19</a:t>
                    </a:r>
                  </a:p>
                </c:rich>
              </c:tx>
              <c:showLegendKey val="0"/>
              <c:showVal val="1"/>
              <c:showCatName val="0"/>
              <c:showSerName val="0"/>
              <c:showPercent val="0"/>
              <c:showBubbleSize val="0"/>
            </c:dLbl>
            <c:dLbl>
              <c:idx val="10"/>
              <c:tx>
                <c:rich>
                  <a:bodyPr/>
                  <a:lstStyle/>
                  <a:p>
                    <a:r>
                      <a:t>17.2</a:t>
                    </a:r>
                  </a:p>
                </c:rich>
              </c:tx>
              <c:showLegendKey val="0"/>
              <c:showVal val="1"/>
              <c:showCatName val="0"/>
              <c:showSerName val="0"/>
              <c:showPercent val="0"/>
              <c:showBubbleSize val="0"/>
            </c:dLbl>
            <c:dLbl>
              <c:idx val="11"/>
              <c:tx>
                <c:rich>
                  <a:bodyPr/>
                  <a:lstStyle/>
                  <a:p>
                    <a:r>
                      <a:t>24.64</a:t>
                    </a:r>
                  </a:p>
                </c:rich>
              </c:tx>
              <c:showLegendKey val="0"/>
              <c:showVal val="1"/>
              <c:showCatName val="0"/>
              <c:showSerName val="0"/>
              <c:showPercent val="0"/>
              <c:showBubbleSize val="0"/>
            </c:dLbl>
            <c:dLbl>
              <c:idx val="12"/>
              <c:tx>
                <c:rich>
                  <a:bodyPr/>
                  <a:lstStyle/>
                  <a:p>
                    <a:r>
                      <a:t>16.3</a:t>
                    </a:r>
                  </a:p>
                </c:rich>
              </c:tx>
              <c:showLegendKey val="0"/>
              <c:showVal val="1"/>
              <c:showCatName val="0"/>
              <c:showSerName val="0"/>
              <c:showPercent val="0"/>
              <c:showBubbleSize val="0"/>
            </c:dLbl>
            <c:dLbl>
              <c:idx val="13"/>
              <c:tx>
                <c:rich>
                  <a:bodyPr/>
                  <a:lstStyle/>
                  <a:p>
                    <a:r>
                      <a:t>18.77</a:t>
                    </a:r>
                  </a:p>
                </c:rich>
              </c:tx>
              <c:showLegendKey val="0"/>
              <c:showVal val="1"/>
              <c:showCatName val="0"/>
              <c:showSerName val="0"/>
              <c:showPercent val="0"/>
              <c:showBubbleSize val="0"/>
            </c:dLbl>
            <c:dLbl>
              <c:idx val="14"/>
              <c:tx>
                <c:rich>
                  <a:bodyPr/>
                  <a:lstStyle/>
                  <a:p>
                    <a:r>
                      <a:t>45.2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REMO 5 BLADE REFILL NORMAL 4CT</c:v>
                </c:pt>
                <c:pt idx="1">
                  <c:v>CREMO 5 BLADE RAZOR NORMAL 2CT</c:v>
                </c:pt>
                <c:pt idx="2">
                  <c:v>CREMO SILVER HOLIDAY GIFT PACK REM BLADES RAZOR 5CT</c:v>
                </c:pt>
                <c:pt idx="3">
                  <c:v>CREMO SILVER HOLIDAY GIFT PACK 5 BLADE RAZOR 5CT</c:v>
                </c:pt>
                <c:pt idx="4">
                  <c:v>GILLETTE FUSION 5 5 BLADE REFILL NORMAL 4CT</c:v>
                </c:pt>
                <c:pt idx="5">
                  <c:v>GILLETTE FUSION 5 5 BLADE REFILL NORMAL 16CT</c:v>
                </c:pt>
                <c:pt idx="6">
                  <c:v>GILLETTE MACH 3 3 BLADE REFILL NORMAL 4CT</c:v>
                </c:pt>
                <c:pt idx="7">
                  <c:v>GILLETTE FUSION 5 5 BLADE REFILL NORMAL 8CT</c:v>
                </c:pt>
                <c:pt idx="8">
                  <c:v>GILLETTE FUSION 5 5 BLADE REFILL NORMAL 12CT</c:v>
                </c:pt>
                <c:pt idx="9">
                  <c:v>HARRY'S 5 BLADE REFILL NORMAL 4CT</c:v>
                </c:pt>
                <c:pt idx="10">
                  <c:v>HARRY'S 5 BLADE REFILL NORMAL 8CT</c:v>
                </c:pt>
                <c:pt idx="11">
                  <c:v>HARRY'S 5 BLADE REFILL NORMAL 12CT</c:v>
                </c:pt>
                <c:pt idx="12">
                  <c:v>HARRY'S ORANGE 5 BLADE RAZOR NORMAL 5CT</c:v>
                </c:pt>
                <c:pt idx="13">
                  <c:v>HARRY'S SILVER 5 BLADE RAZOR NORMAL 5CT</c:v>
                </c:pt>
                <c:pt idx="14">
                  <c:v>PHILIPS NORELCO ONE BLADE 1 BLADE REFILL NORMAL 5CT</c:v>
                </c:pt>
              </c:strCache>
            </c:strRef>
          </c:cat>
          <c:val>
            <c:numRef>
              <c:f>Sheet1!$B$2:$B$16</c:f>
              <c:numCache>
                <c:formatCode>General</c:formatCode>
                <c:ptCount val="15"/>
                <c:pt idx="0">
                  <c:v>13.9</c:v>
                </c:pt>
                <c:pt idx="1">
                  <c:v>15.52</c:v>
                </c:pt>
                <c:pt idx="2">
                  <c:v>16.73</c:v>
                </c:pt>
                <c:pt idx="3">
                  <c:v>10.6</c:v>
                </c:pt>
                <c:pt idx="4">
                  <c:v>19.45</c:v>
                </c:pt>
                <c:pt idx="5">
                  <c:v>42.25</c:v>
                </c:pt>
                <c:pt idx="6">
                  <c:v>13.06</c:v>
                </c:pt>
                <c:pt idx="7">
                  <c:v>32.12</c:v>
                </c:pt>
                <c:pt idx="8">
                  <c:v>42.09</c:v>
                </c:pt>
                <c:pt idx="9">
                  <c:v>10.19</c:v>
                </c:pt>
                <c:pt idx="10">
                  <c:v>17.2</c:v>
                </c:pt>
                <c:pt idx="11">
                  <c:v>24.64</c:v>
                </c:pt>
                <c:pt idx="12">
                  <c:v>16.3</c:v>
                </c:pt>
                <c:pt idx="13">
                  <c:v>18.77</c:v>
                </c:pt>
                <c:pt idx="14">
                  <c:v>45.2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73</a:t>
                    </a:r>
                  </a:p>
                </c:rich>
              </c:tx>
              <c:showLegendKey val="0"/>
              <c:showVal val="1"/>
              <c:showCatName val="0"/>
              <c:showSerName val="0"/>
              <c:showPercent val="0"/>
              <c:showBubbleSize val="0"/>
            </c:dLbl>
            <c:dLbl>
              <c:idx val="1"/>
              <c:tx>
                <c:rich>
                  <a:bodyPr/>
                  <a:lstStyle/>
                  <a:p>
                    <a:r>
                      <a:t>9.96</a:t>
                    </a:r>
                  </a:p>
                </c:rich>
              </c:tx>
              <c:showLegendKey val="0"/>
              <c:showVal val="1"/>
              <c:showCatName val="0"/>
              <c:showSerName val="0"/>
              <c:showPercent val="0"/>
              <c:showBubbleSize val="0"/>
            </c:dLbl>
            <c:dLbl>
              <c:idx val="2"/>
              <c:tx>
                <c:rich>
                  <a:bodyPr/>
                  <a:lstStyle/>
                  <a:p>
                    <a:r>
                      <a:t>26.51</a:t>
                    </a:r>
                  </a:p>
                </c:rich>
              </c:tx>
              <c:showLegendKey val="0"/>
              <c:showVal val="1"/>
              <c:showCatName val="0"/>
              <c:showSerName val="0"/>
              <c:showPercent val="0"/>
              <c:showBubbleSize val="0"/>
            </c:dLbl>
            <c:dLbl>
              <c:idx val="3"/>
              <c:tx>
                <c:rich>
                  <a:bodyPr/>
                  <a:lstStyle/>
                  <a:p>
                    <a:r>
                      <a:t>9.53</a:t>
                    </a:r>
                  </a:p>
                </c:rich>
              </c:tx>
              <c:showLegendKey val="0"/>
              <c:showVal val="1"/>
              <c:showCatName val="0"/>
              <c:showSerName val="0"/>
              <c:showPercent val="0"/>
              <c:showBubbleSize val="0"/>
            </c:dLbl>
            <c:dLbl>
              <c:idx val="4"/>
              <c:tx>
                <c:rich>
                  <a:bodyPr/>
                  <a:lstStyle/>
                  <a:p>
                    <a:r>
                      <a:t>9.99</a:t>
                    </a:r>
                  </a:p>
                </c:rich>
              </c:tx>
              <c:showLegendKey val="0"/>
              <c:showVal val="1"/>
              <c:showCatName val="0"/>
              <c:showSerName val="0"/>
              <c:showPercent val="0"/>
              <c:showBubbleSize val="0"/>
            </c:dLbl>
            <c:dLbl>
              <c:idx val="5"/>
              <c:tx>
                <c:rich>
                  <a:bodyPr/>
                  <a:lstStyle/>
                  <a:p>
                    <a:r>
                      <a:t>18.42</a:t>
                    </a:r>
                  </a:p>
                </c:rich>
              </c:tx>
              <c:showLegendKey val="0"/>
              <c:showVal val="1"/>
              <c:showCatName val="0"/>
              <c:showSerName val="0"/>
              <c:showPercent val="0"/>
              <c:showBubbleSize val="0"/>
            </c:dLbl>
            <c:dLbl>
              <c:idx val="6"/>
              <c:tx>
                <c:rich>
                  <a:bodyPr/>
                  <a:lstStyle/>
                  <a:p>
                    <a:r>
                      <a:t>12.46</a:t>
                    </a:r>
                  </a:p>
                </c:rich>
              </c:tx>
              <c:showLegendKey val="0"/>
              <c:showVal val="1"/>
              <c:showCatName val="0"/>
              <c:showSerName val="0"/>
              <c:showPercent val="0"/>
              <c:showBubbleSize val="0"/>
            </c:dLbl>
            <c:dLbl>
              <c:idx val="7"/>
              <c:tx>
                <c:rich>
                  <a:bodyPr/>
                  <a:lstStyle/>
                  <a:p>
                    <a:r>
                      <a:t>40.1</a:t>
                    </a:r>
                  </a:p>
                </c:rich>
              </c:tx>
              <c:showLegendKey val="0"/>
              <c:showVal val="1"/>
              <c:showCatName val="0"/>
              <c:showSerName val="0"/>
              <c:showPercent val="0"/>
              <c:showBubbleSize val="0"/>
            </c:dLbl>
            <c:dLbl>
              <c:idx val="8"/>
              <c:tx>
                <c:rich>
                  <a:bodyPr/>
                  <a:lstStyle/>
                  <a:p>
                    <a:r>
                      <a:t>29.97</a:t>
                    </a:r>
                  </a:p>
                </c:rich>
              </c:tx>
              <c:showLegendKey val="0"/>
              <c:showVal val="1"/>
              <c:showCatName val="0"/>
              <c:showSerName val="0"/>
              <c:showPercent val="0"/>
              <c:showBubbleSize val="0"/>
            </c:dLbl>
            <c:dLbl>
              <c:idx val="9"/>
              <c:tx>
                <c:rich>
                  <a:bodyPr/>
                  <a:lstStyle/>
                  <a:p>
                    <a:r>
                      <a:t>23.89</a:t>
                    </a:r>
                  </a:p>
                </c:rich>
              </c:tx>
              <c:showLegendKey val="0"/>
              <c:showVal val="1"/>
              <c:showCatName val="0"/>
              <c:showSerName val="0"/>
              <c:showPercent val="0"/>
              <c:showBubbleSize val="0"/>
            </c:dLbl>
            <c:dLbl>
              <c:idx val="10"/>
              <c:tx>
                <c:rich>
                  <a:bodyPr/>
                  <a:lstStyle/>
                  <a:p>
                    <a:r>
                      <a:t>9.97</a:t>
                    </a:r>
                  </a:p>
                </c:rich>
              </c:tx>
              <c:showLegendKey val="0"/>
              <c:showVal val="1"/>
              <c:showCatName val="0"/>
              <c:showSerName val="0"/>
              <c:showPercent val="0"/>
              <c:showBubbleSize val="0"/>
            </c:dLbl>
            <c:dLbl>
              <c:idx val="11"/>
              <c:tx>
                <c:rich>
                  <a:bodyPr/>
                  <a:lstStyle/>
                  <a:p>
                    <a:r>
                      <a:t>16.96</a:t>
                    </a:r>
                  </a:p>
                </c:rich>
              </c:tx>
              <c:showLegendKey val="0"/>
              <c:showVal val="1"/>
              <c:showCatName val="0"/>
              <c:showSerName val="0"/>
              <c:showPercent val="0"/>
              <c:showBubbleSize val="0"/>
            </c:dLbl>
            <c:dLbl>
              <c:idx val="12"/>
              <c:tx>
                <c:rich>
                  <a:bodyPr/>
                  <a:lstStyle/>
                  <a:p>
                    <a:r>
                      <a:t>23.97</a:t>
                    </a:r>
                  </a:p>
                </c:rich>
              </c:tx>
              <c:showLegendKey val="0"/>
              <c:showVal val="1"/>
              <c:showCatName val="0"/>
              <c:showSerName val="0"/>
              <c:showPercent val="0"/>
              <c:showBubbleSize val="0"/>
            </c:dLbl>
            <c:dLbl>
              <c:idx val="13"/>
              <c:tx>
                <c:rich>
                  <a:bodyPr/>
                  <a:lstStyle/>
                  <a:p>
                    <a:r>
                      <a:t>16.01</a:t>
                    </a:r>
                  </a:p>
                </c:rich>
              </c:tx>
              <c:showLegendKey val="0"/>
              <c:showVal val="1"/>
              <c:showCatName val="0"/>
              <c:showSerName val="0"/>
              <c:showPercent val="0"/>
              <c:showBubbleSize val="0"/>
            </c:dLbl>
            <c:dLbl>
              <c:idx val="14"/>
              <c:tx>
                <c:rich>
                  <a:bodyPr/>
                  <a:lstStyle/>
                  <a:p>
                    <a:r>
                      <a:t>9.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HYDRO 5 SENSITIVE 5 BLADE REFILL SENSITIVE 6CT</c:v>
                </c:pt>
                <c:pt idx="1">
                  <c:v>HYDRO 5 SENSITIVE 5 BLADE RAZOR SENSITIVE 3CT</c:v>
                </c:pt>
                <c:pt idx="2">
                  <c:v>HYDRO 5 SENSITIVE 5 BLADE REFILL SENSITIVE 12CT</c:v>
                </c:pt>
                <c:pt idx="3">
                  <c:v>SCHICK HYDRO 3 SENSITIVE 3 BLADE REFILL SENSITIVE 5CT</c:v>
                </c:pt>
                <c:pt idx="4">
                  <c:v>HYDRO 5 SENSITIVE GRAY HOLIDAY GIFT PACK 5 BLADE RAZOR SENSITIVE 3CT</c:v>
                </c:pt>
                <c:pt idx="5">
                  <c:v>GILLETTE FUSION 5 5 BLADE REFILL NORMAL 4CT</c:v>
                </c:pt>
                <c:pt idx="6">
                  <c:v>GILLETTE MACH 3 3 BLADE REFILL NORMAL 4CT</c:v>
                </c:pt>
                <c:pt idx="7">
                  <c:v>GILLETTE FUSION 5 5 BLADE REFILL NORMAL 12CT</c:v>
                </c:pt>
                <c:pt idx="8">
                  <c:v>GILLETTE FUSION 5 5 BLADE REFILL NORMAL 8CT</c:v>
                </c:pt>
                <c:pt idx="9">
                  <c:v>GILLETTE FUSION 5 5 BLADE RAZOR NORMAL 5CT</c:v>
                </c:pt>
                <c:pt idx="10">
                  <c:v>HARRY'S 5 BLADE REFILL NORMAL 4CT</c:v>
                </c:pt>
                <c:pt idx="11">
                  <c:v>HARRY'S 5 BLADE REFILL NORMAL 8CT</c:v>
                </c:pt>
                <c:pt idx="12">
                  <c:v>HARRY'S 5 BLADE REFILL NORMAL 12CT</c:v>
                </c:pt>
                <c:pt idx="13">
                  <c:v>HARRY'S ORANGE 5 BLADE RAZOR NORMAL 5CT</c:v>
                </c:pt>
                <c:pt idx="14">
                  <c:v>HARRY'S SURF BLUE 5 BLADE RAZOR NORMAL 2CT</c:v>
                </c:pt>
              </c:strCache>
            </c:strRef>
          </c:cat>
          <c:val>
            <c:numRef>
              <c:f>Sheet1!$B$2:$B$16</c:f>
              <c:numCache>
                <c:formatCode>General</c:formatCode>
                <c:ptCount val="15"/>
                <c:pt idx="0">
                  <c:v>14.73</c:v>
                </c:pt>
                <c:pt idx="1">
                  <c:v>9.96</c:v>
                </c:pt>
                <c:pt idx="2">
                  <c:v>26.51</c:v>
                </c:pt>
                <c:pt idx="3">
                  <c:v>9.53</c:v>
                </c:pt>
                <c:pt idx="4">
                  <c:v>9.99</c:v>
                </c:pt>
                <c:pt idx="5">
                  <c:v>18.42</c:v>
                </c:pt>
                <c:pt idx="6">
                  <c:v>12.46</c:v>
                </c:pt>
                <c:pt idx="7">
                  <c:v>40.1</c:v>
                </c:pt>
                <c:pt idx="8">
                  <c:v>29.97</c:v>
                </c:pt>
                <c:pt idx="9">
                  <c:v>23.89</c:v>
                </c:pt>
                <c:pt idx="10">
                  <c:v>9.97</c:v>
                </c:pt>
                <c:pt idx="11">
                  <c:v>16.96</c:v>
                </c:pt>
                <c:pt idx="12">
                  <c:v>23.97</c:v>
                </c:pt>
                <c:pt idx="13">
                  <c:v>16.01</c:v>
                </c:pt>
                <c:pt idx="14">
                  <c:v>9.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8.96</a:t>
                    </a:r>
                  </a:p>
                </c:rich>
              </c:tx>
              <c:showLegendKey val="0"/>
              <c:showVal val="1"/>
              <c:showCatName val="0"/>
              <c:showSerName val="0"/>
              <c:showPercent val="0"/>
              <c:showBubbleSize val="0"/>
            </c:dLbl>
            <c:dLbl>
              <c:idx val="1"/>
              <c:tx>
                <c:rich>
                  <a:bodyPr/>
                  <a:lstStyle/>
                  <a:p>
                    <a:r>
                      <a:t>20.0</a:t>
                    </a:r>
                  </a:p>
                </c:rich>
              </c:tx>
              <c:showLegendKey val="0"/>
              <c:showVal val="1"/>
              <c:showCatName val="0"/>
              <c:showSerName val="0"/>
              <c:showPercent val="0"/>
              <c:showBubbleSize val="0"/>
            </c:dLbl>
            <c:dLbl>
              <c:idx val="2"/>
              <c:tx>
                <c:rich>
                  <a:bodyPr/>
                  <a:lstStyle/>
                  <a:p>
                    <a:r>
                      <a:t>8.46</a:t>
                    </a:r>
                  </a:p>
                </c:rich>
              </c:tx>
              <c:showLegendKey val="0"/>
              <c:showVal val="1"/>
              <c:showCatName val="0"/>
              <c:showSerName val="0"/>
              <c:showPercent val="0"/>
              <c:showBubbleSize val="0"/>
            </c:dLbl>
            <c:dLbl>
              <c:idx val="3"/>
              <c:tx>
                <c:rich>
                  <a:bodyPr/>
                  <a:lstStyle/>
                  <a:p>
                    <a:r>
                      <a:t>15.85</a:t>
                    </a:r>
                  </a:p>
                </c:rich>
              </c:tx>
              <c:showLegendKey val="0"/>
              <c:showVal val="1"/>
              <c:showCatName val="0"/>
              <c:showSerName val="0"/>
              <c:showPercent val="0"/>
              <c:showBubbleSize val="0"/>
            </c:dLbl>
            <c:dLbl>
              <c:idx val="4"/>
              <c:tx>
                <c:rich>
                  <a:bodyPr/>
                  <a:lstStyle/>
                  <a:p>
                    <a:r>
                      <a:t>18.42</a:t>
                    </a:r>
                  </a:p>
                </c:rich>
              </c:tx>
              <c:showLegendKey val="0"/>
              <c:showVal val="1"/>
              <c:showCatName val="0"/>
              <c:showSerName val="0"/>
              <c:showPercent val="0"/>
              <c:showBubbleSize val="0"/>
            </c:dLbl>
            <c:dLbl>
              <c:idx val="5"/>
              <c:tx>
                <c:rich>
                  <a:bodyPr/>
                  <a:lstStyle/>
                  <a:p>
                    <a:r>
                      <a:t>12.46</a:t>
                    </a:r>
                  </a:p>
                </c:rich>
              </c:tx>
              <c:showLegendKey val="0"/>
              <c:showVal val="1"/>
              <c:showCatName val="0"/>
              <c:showSerName val="0"/>
              <c:showPercent val="0"/>
              <c:showBubbleSize val="0"/>
            </c:dLbl>
            <c:dLbl>
              <c:idx val="6"/>
              <c:tx>
                <c:rich>
                  <a:bodyPr/>
                  <a:lstStyle/>
                  <a:p>
                    <a:r>
                      <a:t>40.1</a:t>
                    </a:r>
                  </a:p>
                </c:rich>
              </c:tx>
              <c:showLegendKey val="0"/>
              <c:showVal val="1"/>
              <c:showCatName val="0"/>
              <c:showSerName val="0"/>
              <c:showPercent val="0"/>
              <c:showBubbleSize val="0"/>
            </c:dLbl>
            <c:dLbl>
              <c:idx val="7"/>
              <c:tx>
                <c:rich>
                  <a:bodyPr/>
                  <a:lstStyle/>
                  <a:p>
                    <a:r>
                      <a:t>29.97</a:t>
                    </a:r>
                  </a:p>
                </c:rich>
              </c:tx>
              <c:showLegendKey val="0"/>
              <c:showVal val="1"/>
              <c:showCatName val="0"/>
              <c:showSerName val="0"/>
              <c:showPercent val="0"/>
              <c:showBubbleSize val="0"/>
            </c:dLbl>
            <c:dLbl>
              <c:idx val="8"/>
              <c:tx>
                <c:rich>
                  <a:bodyPr/>
                  <a:lstStyle/>
                  <a:p>
                    <a:r>
                      <a:t>23.89</a:t>
                    </a:r>
                  </a:p>
                </c:rich>
              </c:tx>
              <c:showLegendKey val="0"/>
              <c:showVal val="1"/>
              <c:showCatName val="0"/>
              <c:showSerName val="0"/>
              <c:showPercent val="0"/>
              <c:showBubbleSize val="0"/>
            </c:dLbl>
            <c:dLbl>
              <c:idx val="9"/>
              <c:tx>
                <c:rich>
                  <a:bodyPr/>
                  <a:lstStyle/>
                  <a:p>
                    <a:r>
                      <a:t>9.97</a:t>
                    </a:r>
                  </a:p>
                </c:rich>
              </c:tx>
              <c:showLegendKey val="0"/>
              <c:showVal val="1"/>
              <c:showCatName val="0"/>
              <c:showSerName val="0"/>
              <c:showPercent val="0"/>
              <c:showBubbleSize val="0"/>
            </c:dLbl>
            <c:dLbl>
              <c:idx val="10"/>
              <c:tx>
                <c:rich>
                  <a:bodyPr/>
                  <a:lstStyle/>
                  <a:p>
                    <a:r>
                      <a:t>16.96</a:t>
                    </a:r>
                  </a:p>
                </c:rich>
              </c:tx>
              <c:showLegendKey val="0"/>
              <c:showVal val="1"/>
              <c:showCatName val="0"/>
              <c:showSerName val="0"/>
              <c:showPercent val="0"/>
              <c:showBubbleSize val="0"/>
            </c:dLbl>
            <c:dLbl>
              <c:idx val="11"/>
              <c:tx>
                <c:rich>
                  <a:bodyPr/>
                  <a:lstStyle/>
                  <a:p>
                    <a:r>
                      <a:t>23.97</a:t>
                    </a:r>
                  </a:p>
                </c:rich>
              </c:tx>
              <c:showLegendKey val="0"/>
              <c:showVal val="1"/>
              <c:showCatName val="0"/>
              <c:showSerName val="0"/>
              <c:showPercent val="0"/>
              <c:showBubbleSize val="0"/>
            </c:dLbl>
            <c:dLbl>
              <c:idx val="12"/>
              <c:tx>
                <c:rich>
                  <a:bodyPr/>
                  <a:lstStyle/>
                  <a:p>
                    <a:r>
                      <a:t>16.01</a:t>
                    </a:r>
                  </a:p>
                </c:rich>
              </c:tx>
              <c:showLegendKey val="0"/>
              <c:showVal val="1"/>
              <c:showCatName val="0"/>
              <c:showSerName val="0"/>
              <c:showPercent val="0"/>
              <c:showBubbleSize val="0"/>
            </c:dLbl>
            <c:dLbl>
              <c:idx val="13"/>
              <c:tx>
                <c:rich>
                  <a:bodyPr/>
                  <a:lstStyle/>
                  <a:p>
                    <a:r>
                      <a:t>9.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EQUATE EASY FIT 5 5 BLADE REFILL NORMAL 4CT</c:v>
                </c:pt>
                <c:pt idx="1">
                  <c:v>EQUATE EASY FIT 5 5 BLADE REFILL NORMAL 12CT</c:v>
                </c:pt>
                <c:pt idx="2">
                  <c:v>EQUATE EASY FIT 5 5 BLADE RAZOR NORMAL 2CT</c:v>
                </c:pt>
                <c:pt idx="3">
                  <c:v>EQUATE EASY FIT 5 5 BLADE REFILL NORMAL 8CT</c:v>
                </c:pt>
                <c:pt idx="4">
                  <c:v>GILLETTE FUSION 5 5 BLADE REFILL NORMAL 4CT</c:v>
                </c:pt>
                <c:pt idx="5">
                  <c:v>GILLETTE MACH 3 3 BLADE REFILL NORMAL 4CT</c:v>
                </c:pt>
                <c:pt idx="6">
                  <c:v>GILLETTE FUSION 5 5 BLADE REFILL NORMAL 12CT</c:v>
                </c:pt>
                <c:pt idx="7">
                  <c:v>GILLETTE FUSION 5 5 BLADE REFILL NORMAL 8CT</c:v>
                </c:pt>
                <c:pt idx="8">
                  <c:v>GILLETTE FUSION 5 5 BLADE RAZOR NORMAL 5CT</c:v>
                </c:pt>
                <c:pt idx="9">
                  <c:v>HARRY'S 5 BLADE REFILL NORMAL 4CT</c:v>
                </c:pt>
                <c:pt idx="10">
                  <c:v>HARRY'S 5 BLADE REFILL NORMAL 8CT</c:v>
                </c:pt>
                <c:pt idx="11">
                  <c:v>HARRY'S 5 BLADE REFILL NORMAL 12CT</c:v>
                </c:pt>
                <c:pt idx="12">
                  <c:v>HARRY'S ORANGE 5 BLADE RAZOR NORMAL 5CT</c:v>
                </c:pt>
                <c:pt idx="13">
                  <c:v>HARRY'S SURF BLUE 5 BLADE RAZOR NORMAL 2CT</c:v>
                </c:pt>
              </c:strCache>
            </c:strRef>
          </c:cat>
          <c:val>
            <c:numRef>
              <c:f>Sheet1!$B$2:$B$15</c:f>
              <c:numCache>
                <c:formatCode>General</c:formatCode>
                <c:ptCount val="14"/>
                <c:pt idx="0">
                  <c:v>8.96</c:v>
                </c:pt>
                <c:pt idx="1">
                  <c:v>20.0</c:v>
                </c:pt>
                <c:pt idx="2">
                  <c:v>8.46</c:v>
                </c:pt>
                <c:pt idx="3">
                  <c:v>15.85</c:v>
                </c:pt>
                <c:pt idx="4">
                  <c:v>18.42</c:v>
                </c:pt>
                <c:pt idx="5">
                  <c:v>12.46</c:v>
                </c:pt>
                <c:pt idx="6">
                  <c:v>40.1</c:v>
                </c:pt>
                <c:pt idx="7">
                  <c:v>29.97</c:v>
                </c:pt>
                <c:pt idx="8">
                  <c:v>23.89</c:v>
                </c:pt>
                <c:pt idx="9">
                  <c:v>9.97</c:v>
                </c:pt>
                <c:pt idx="10">
                  <c:v>16.96</c:v>
                </c:pt>
                <c:pt idx="11">
                  <c:v>23.97</c:v>
                </c:pt>
                <c:pt idx="12">
                  <c:v>16.01</c:v>
                </c:pt>
                <c:pt idx="13">
                  <c:v>9.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6.85</a:t>
                    </a:r>
                  </a:p>
                </c:rich>
              </c:tx>
              <c:showLegendKey val="0"/>
              <c:showVal val="1"/>
              <c:showCatName val="0"/>
              <c:showSerName val="0"/>
              <c:showPercent val="0"/>
              <c:showBubbleSize val="0"/>
            </c:dLbl>
            <c:dLbl>
              <c:idx val="1"/>
              <c:tx>
                <c:rich>
                  <a:bodyPr/>
                  <a:lstStyle/>
                  <a:p>
                    <a:r>
                      <a:t>14.99</a:t>
                    </a:r>
                  </a:p>
                </c:rich>
              </c:tx>
              <c:showLegendKey val="0"/>
              <c:showVal val="1"/>
              <c:showCatName val="0"/>
              <c:showSerName val="0"/>
              <c:showPercent val="0"/>
              <c:showBubbleSize val="0"/>
            </c:dLbl>
            <c:dLbl>
              <c:idx val="2"/>
              <c:tx>
                <c:rich>
                  <a:bodyPr/>
                  <a:lstStyle/>
                  <a:p>
                    <a:r>
                      <a:t>18.42</a:t>
                    </a:r>
                  </a:p>
                </c:rich>
              </c:tx>
              <c:showLegendKey val="0"/>
              <c:showVal val="1"/>
              <c:showCatName val="0"/>
              <c:showSerName val="0"/>
              <c:showPercent val="0"/>
              <c:showBubbleSize val="0"/>
            </c:dLbl>
            <c:dLbl>
              <c:idx val="3"/>
              <c:tx>
                <c:rich>
                  <a:bodyPr/>
                  <a:lstStyle/>
                  <a:p>
                    <a:r>
                      <a:t>12.46</a:t>
                    </a:r>
                  </a:p>
                </c:rich>
              </c:tx>
              <c:showLegendKey val="0"/>
              <c:showVal val="1"/>
              <c:showCatName val="0"/>
              <c:showSerName val="0"/>
              <c:showPercent val="0"/>
              <c:showBubbleSize val="0"/>
            </c:dLbl>
            <c:dLbl>
              <c:idx val="4"/>
              <c:tx>
                <c:rich>
                  <a:bodyPr/>
                  <a:lstStyle/>
                  <a:p>
                    <a:r>
                      <a:t>40.1</a:t>
                    </a:r>
                  </a:p>
                </c:rich>
              </c:tx>
              <c:showLegendKey val="0"/>
              <c:showVal val="1"/>
              <c:showCatName val="0"/>
              <c:showSerName val="0"/>
              <c:showPercent val="0"/>
              <c:showBubbleSize val="0"/>
            </c:dLbl>
            <c:dLbl>
              <c:idx val="5"/>
              <c:tx>
                <c:rich>
                  <a:bodyPr/>
                  <a:lstStyle/>
                  <a:p>
                    <a:r>
                      <a:t>29.97</a:t>
                    </a:r>
                  </a:p>
                </c:rich>
              </c:tx>
              <c:showLegendKey val="0"/>
              <c:showVal val="1"/>
              <c:showCatName val="0"/>
              <c:showSerName val="0"/>
              <c:showPercent val="0"/>
              <c:showBubbleSize val="0"/>
            </c:dLbl>
            <c:dLbl>
              <c:idx val="6"/>
              <c:tx>
                <c:rich>
                  <a:bodyPr/>
                  <a:lstStyle/>
                  <a:p>
                    <a:r>
                      <a:t>23.89</a:t>
                    </a:r>
                  </a:p>
                </c:rich>
              </c:tx>
              <c:showLegendKey val="0"/>
              <c:showVal val="1"/>
              <c:showCatName val="0"/>
              <c:showSerName val="0"/>
              <c:showPercent val="0"/>
              <c:showBubbleSize val="0"/>
            </c:dLbl>
            <c:dLbl>
              <c:idx val="7"/>
              <c:tx>
                <c:rich>
                  <a:bodyPr/>
                  <a:lstStyle/>
                  <a:p>
                    <a:r>
                      <a:t>9.97</a:t>
                    </a:r>
                  </a:p>
                </c:rich>
              </c:tx>
              <c:showLegendKey val="0"/>
              <c:showVal val="1"/>
              <c:showCatName val="0"/>
              <c:showSerName val="0"/>
              <c:showPercent val="0"/>
              <c:showBubbleSize val="0"/>
            </c:dLbl>
            <c:dLbl>
              <c:idx val="8"/>
              <c:tx>
                <c:rich>
                  <a:bodyPr/>
                  <a:lstStyle/>
                  <a:p>
                    <a:r>
                      <a:t>16.96</a:t>
                    </a:r>
                  </a:p>
                </c:rich>
              </c:tx>
              <c:showLegendKey val="0"/>
              <c:showVal val="1"/>
              <c:showCatName val="0"/>
              <c:showSerName val="0"/>
              <c:showPercent val="0"/>
              <c:showBubbleSize val="0"/>
            </c:dLbl>
            <c:dLbl>
              <c:idx val="9"/>
              <c:tx>
                <c:rich>
                  <a:bodyPr/>
                  <a:lstStyle/>
                  <a:p>
                    <a:r>
                      <a:t>23.97</a:t>
                    </a:r>
                  </a:p>
                </c:rich>
              </c:tx>
              <c:showLegendKey val="0"/>
              <c:showVal val="1"/>
              <c:showCatName val="0"/>
              <c:showSerName val="0"/>
              <c:showPercent val="0"/>
              <c:showBubbleSize val="0"/>
            </c:dLbl>
            <c:dLbl>
              <c:idx val="10"/>
              <c:tx>
                <c:rich>
                  <a:bodyPr/>
                  <a:lstStyle/>
                  <a:p>
                    <a:r>
                      <a:t>16.01</a:t>
                    </a:r>
                  </a:p>
                </c:rich>
              </c:tx>
              <c:showLegendKey val="0"/>
              <c:showVal val="1"/>
              <c:showCatName val="0"/>
              <c:showSerName val="0"/>
              <c:showPercent val="0"/>
              <c:showBubbleSize val="0"/>
            </c:dLbl>
            <c:dLbl>
              <c:idx val="11"/>
              <c:tx>
                <c:rich>
                  <a:bodyPr/>
                  <a:lstStyle/>
                  <a:p>
                    <a:r>
                      <a:t>9.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CREMO 5 BLADE RAZOR NORMAL 2CT</c:v>
                </c:pt>
                <c:pt idx="1">
                  <c:v>CREMO 5 BLADE REFILL NORMAL 4CT</c:v>
                </c:pt>
                <c:pt idx="2">
                  <c:v>GILLETTE FUSION 5 5 BLADE REFILL NORMAL 4CT</c:v>
                </c:pt>
                <c:pt idx="3">
                  <c:v>GILLETTE MACH 3 3 BLADE REFILL NORMAL 4CT</c:v>
                </c:pt>
                <c:pt idx="4">
                  <c:v>GILLETTE FUSION 5 5 BLADE REFILL NORMAL 12CT</c:v>
                </c:pt>
                <c:pt idx="5">
                  <c:v>GILLETTE FUSION 5 5 BLADE REFILL NORMAL 8CT</c:v>
                </c:pt>
                <c:pt idx="6">
                  <c:v>GILLETTE FUSION 5 5 BLADE RAZOR NORMAL 5CT</c:v>
                </c:pt>
                <c:pt idx="7">
                  <c:v>HARRY'S 5 BLADE REFILL NORMAL 4CT</c:v>
                </c:pt>
                <c:pt idx="8">
                  <c:v>HARRY'S 5 BLADE REFILL NORMAL 8CT</c:v>
                </c:pt>
                <c:pt idx="9">
                  <c:v>HARRY'S 5 BLADE REFILL NORMAL 12CT</c:v>
                </c:pt>
                <c:pt idx="10">
                  <c:v>HARRY'S ORANGE 5 BLADE RAZOR NORMAL 5CT</c:v>
                </c:pt>
                <c:pt idx="11">
                  <c:v>HARRY'S SURF BLUE 5 BLADE RAZOR NORMAL 2CT</c:v>
                </c:pt>
              </c:strCache>
            </c:strRef>
          </c:cat>
          <c:val>
            <c:numRef>
              <c:f>Sheet1!$B$2:$B$13</c:f>
              <c:numCache>
                <c:formatCode>General</c:formatCode>
                <c:ptCount val="12"/>
                <c:pt idx="0">
                  <c:v>16.85</c:v>
                </c:pt>
                <c:pt idx="1">
                  <c:v>14.99</c:v>
                </c:pt>
                <c:pt idx="2">
                  <c:v>18.42</c:v>
                </c:pt>
                <c:pt idx="3">
                  <c:v>12.46</c:v>
                </c:pt>
                <c:pt idx="4">
                  <c:v>40.1</c:v>
                </c:pt>
                <c:pt idx="5">
                  <c:v>29.97</c:v>
                </c:pt>
                <c:pt idx="6">
                  <c:v>23.89</c:v>
                </c:pt>
                <c:pt idx="7">
                  <c:v>9.97</c:v>
                </c:pt>
                <c:pt idx="8">
                  <c:v>16.96</c:v>
                </c:pt>
                <c:pt idx="9">
                  <c:v>23.97</c:v>
                </c:pt>
                <c:pt idx="10">
                  <c:v>16.01</c:v>
                </c:pt>
                <c:pt idx="11">
                  <c:v>9.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09</a:t>
                    </a:r>
                  </a:p>
                </c:rich>
              </c:tx>
              <c:showLegendKey val="0"/>
              <c:showVal val="1"/>
              <c:showCatName val="0"/>
              <c:showSerName val="0"/>
              <c:showPercent val="0"/>
              <c:showBubbleSize val="0"/>
            </c:dLbl>
            <c:dLbl>
              <c:idx val="1"/>
              <c:tx>
                <c:rich>
                  <a:bodyPr/>
                  <a:lstStyle/>
                  <a:p>
                    <a:r>
                      <a:t>7.29</a:t>
                    </a:r>
                  </a:p>
                </c:rich>
              </c:tx>
              <c:showLegendKey val="0"/>
              <c:showVal val="1"/>
              <c:showCatName val="0"/>
              <c:showSerName val="0"/>
              <c:showPercent val="0"/>
              <c:showBubbleSize val="0"/>
            </c:dLbl>
            <c:dLbl>
              <c:idx val="2"/>
              <c:tx>
                <c:rich>
                  <a:bodyPr/>
                  <a:lstStyle/>
                  <a:p>
                    <a:r>
                      <a:t>7.27</a:t>
                    </a:r>
                  </a:p>
                </c:rich>
              </c:tx>
              <c:showLegendKey val="0"/>
              <c:showVal val="1"/>
              <c:showCatName val="0"/>
              <c:showSerName val="0"/>
              <c:showPercent val="0"/>
              <c:showBubbleSize val="0"/>
            </c:dLbl>
            <c:dLbl>
              <c:idx val="3"/>
              <c:tx>
                <c:rich>
                  <a:bodyPr/>
                  <a:lstStyle/>
                  <a:p>
                    <a:r>
                      <a:t>11.92</a:t>
                    </a:r>
                  </a:p>
                </c:rich>
              </c:tx>
              <c:showLegendKey val="0"/>
              <c:showVal val="1"/>
              <c:showCatName val="0"/>
              <c:showSerName val="0"/>
              <c:showPercent val="0"/>
              <c:showBubbleSize val="0"/>
            </c:dLbl>
            <c:dLbl>
              <c:idx val="4"/>
              <c:tx>
                <c:rich>
                  <a:bodyPr/>
                  <a:lstStyle/>
                  <a:p>
                    <a:r>
                      <a:t>9.2</a:t>
                    </a:r>
                  </a:p>
                </c:rich>
              </c:tx>
              <c:showLegendKey val="0"/>
              <c:showVal val="1"/>
              <c:showCatName val="0"/>
              <c:showSerName val="0"/>
              <c:showPercent val="0"/>
              <c:showBubbleSize val="0"/>
            </c:dLbl>
            <c:dLbl>
              <c:idx val="5"/>
              <c:tx>
                <c:rich>
                  <a:bodyPr/>
                  <a:lstStyle/>
                  <a:p>
                    <a:r>
                      <a:t>6.93</a:t>
                    </a:r>
                  </a:p>
                </c:rich>
              </c:tx>
              <c:showLegendKey val="0"/>
              <c:showVal val="1"/>
              <c:showCatName val="0"/>
              <c:showSerName val="0"/>
              <c:showPercent val="0"/>
              <c:showBubbleSize val="0"/>
            </c:dLbl>
            <c:dLbl>
              <c:idx val="6"/>
              <c:tx>
                <c:rich>
                  <a:bodyPr/>
                  <a:lstStyle/>
                  <a:p>
                    <a:r>
                      <a:t>7.15</a:t>
                    </a:r>
                  </a:p>
                </c:rich>
              </c:tx>
              <c:showLegendKey val="0"/>
              <c:showVal val="1"/>
              <c:showCatName val="0"/>
              <c:showSerName val="0"/>
              <c:showPercent val="0"/>
              <c:showBubbleSize val="0"/>
            </c:dLbl>
            <c:dLbl>
              <c:idx val="7"/>
              <c:tx>
                <c:rich>
                  <a:bodyPr/>
                  <a:lstStyle/>
                  <a:p>
                    <a:r>
                      <a:t>3.77</a:t>
                    </a:r>
                  </a:p>
                </c:rich>
              </c:tx>
              <c:showLegendKey val="0"/>
              <c:showVal val="1"/>
              <c:showCatName val="0"/>
              <c:showSerName val="0"/>
              <c:showPercent val="0"/>
              <c:showBubbleSize val="0"/>
            </c:dLbl>
            <c:dLbl>
              <c:idx val="8"/>
              <c:tx>
                <c:rich>
                  <a:bodyPr/>
                  <a:lstStyle/>
                  <a:p>
                    <a:r>
                      <a:t>5.26</a:t>
                    </a:r>
                  </a:p>
                </c:rich>
              </c:tx>
              <c:showLegendKey val="0"/>
              <c:showVal val="1"/>
              <c:showCatName val="0"/>
              <c:showSerName val="0"/>
              <c:showPercent val="0"/>
              <c:showBubbleSize val="0"/>
            </c:dLbl>
            <c:dLbl>
              <c:idx val="9"/>
              <c:tx>
                <c:rich>
                  <a:bodyPr/>
                  <a:lstStyle/>
                  <a:p>
                    <a:r>
                      <a:t>5.15</a:t>
                    </a:r>
                  </a:p>
                </c:rich>
              </c:tx>
              <c:showLegendKey val="0"/>
              <c:showVal val="1"/>
              <c:showCatName val="0"/>
              <c:showSerName val="0"/>
              <c:showPercent val="0"/>
              <c:showBubbleSize val="0"/>
            </c:dLbl>
            <c:dLbl>
              <c:idx val="10"/>
              <c:tx>
                <c:rich>
                  <a:bodyPr/>
                  <a:lstStyle/>
                  <a:p>
                    <a:r>
                      <a:t>7.9</a:t>
                    </a:r>
                  </a:p>
                </c:rich>
              </c:tx>
              <c:showLegendKey val="0"/>
              <c:showVal val="1"/>
              <c:showCatName val="0"/>
              <c:showSerName val="0"/>
              <c:showPercent val="0"/>
              <c:showBubbleSize val="0"/>
            </c:dLbl>
            <c:dLbl>
              <c:idx val="11"/>
              <c:tx>
                <c:rich>
                  <a:bodyPr/>
                  <a:lstStyle/>
                  <a:p>
                    <a:r>
                      <a:t>11.13</a:t>
                    </a:r>
                  </a:p>
                </c:rich>
              </c:tx>
              <c:showLegendKey val="0"/>
              <c:showVal val="1"/>
              <c:showCatName val="0"/>
              <c:showSerName val="0"/>
              <c:showPercent val="0"/>
              <c:showBubbleSize val="0"/>
            </c:dLbl>
            <c:dLbl>
              <c:idx val="12"/>
              <c:tx>
                <c:rich>
                  <a:bodyPr/>
                  <a:lstStyle/>
                  <a:p>
                    <a:r>
                      <a:t>11.13</a:t>
                    </a:r>
                  </a:p>
                </c:rich>
              </c:tx>
              <c:showLegendKey val="0"/>
              <c:showVal val="1"/>
              <c:showCatName val="0"/>
              <c:showSerName val="0"/>
              <c:showPercent val="0"/>
              <c:showBubbleSize val="0"/>
            </c:dLbl>
            <c:dLbl>
              <c:idx val="13"/>
              <c:tx>
                <c:rich>
                  <a:bodyPr/>
                  <a:lstStyle/>
                  <a:p>
                    <a:r>
                      <a:t>7.46</a:t>
                    </a:r>
                  </a:p>
                </c:rich>
              </c:tx>
              <c:showLegendKey val="0"/>
              <c:showVal val="1"/>
              <c:showCatName val="0"/>
              <c:showSerName val="0"/>
              <c:showPercent val="0"/>
              <c:showBubbleSize val="0"/>
            </c:dLbl>
            <c:dLbl>
              <c:idx val="14"/>
              <c:tx>
                <c:rich>
                  <a:bodyPr/>
                  <a:lstStyle/>
                  <a:p>
                    <a:r>
                      <a:t>33.52</a:t>
                    </a:r>
                  </a:p>
                </c:rich>
              </c:tx>
              <c:showLegendKey val="0"/>
              <c:showVal val="1"/>
              <c:showCatName val="0"/>
              <c:showSerName val="0"/>
              <c:showPercent val="0"/>
              <c:showBubbleSize val="0"/>
            </c:dLbl>
            <c:dLbl>
              <c:idx val="15"/>
              <c:tx>
                <c:rich>
                  <a:bodyPr/>
                  <a:lstStyle/>
                  <a:p>
                    <a:r>
                      <a:t>5.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SCHICK XTREME 3 SENSITIVE BLACK GREEN 3 BLADE DISPOSABLE SENSITIVE 20CT</c:v>
                </c:pt>
                <c:pt idx="1">
                  <c:v>SCHICK XTREME 2 SENSITIVE 2 BLADE DISPOSABLE NORMAL 12CT</c:v>
                </c:pt>
                <c:pt idx="2">
                  <c:v>SCHICK XTREME 3 SENSITIVE BLACK 3 BLADE DISPOSABLE SENSITIVE 4CT</c:v>
                </c:pt>
                <c:pt idx="3">
                  <c:v>SCHICK XTREME 3 SENSITIVE GREEN 3 BLADE DISPOSABLE SENSITIVE 8CT</c:v>
                </c:pt>
                <c:pt idx="4">
                  <c:v>SCHICK XTREME 3 SENSITIVE GREEN BLACK 3 BLADE DISPOSABLE SENSITIVE 4CT</c:v>
                </c:pt>
                <c:pt idx="5">
                  <c:v>BIC FLEX 4 4 BLADE DISPOSABLE SENSITIVE 3CT</c:v>
                </c:pt>
                <c:pt idx="6">
                  <c:v>BIC FLEX 5 BLACK WHITE 5 BLADE DISPOSABLE NORMAL 2CT</c:v>
                </c:pt>
                <c:pt idx="7">
                  <c:v>BIC SINGLE SENSITIVE 1 BLADE DISPOSABLE SENSITIVE 12CT</c:v>
                </c:pt>
                <c:pt idx="8">
                  <c:v>BIC FLEX 3 3 BLADE DISPOSABLE NORMAL 2CT</c:v>
                </c:pt>
                <c:pt idx="9">
                  <c:v>BIC SENSITIVE 3 3 BLADE DISPOSABLE SENSITIVE 5CT</c:v>
                </c:pt>
                <c:pt idx="10">
                  <c:v>GILLETTE MACH 3 MULTI COLOR 3 BLADE DISPOSABLE SENSITIVE 3CT</c:v>
                </c:pt>
                <c:pt idx="11">
                  <c:v>GILLETTE SENSOR 2 FIXED 2 BLADE DISPOSABLE NORMAL 12CT</c:v>
                </c:pt>
                <c:pt idx="12">
                  <c:v>GILLETTE SENSOR 2 PLUS PIVOT 2 BLADE DISPOSABLE NORMAL 10CT</c:v>
                </c:pt>
                <c:pt idx="13">
                  <c:v>GILLETTE SENSOR 3 SENSITIVE GREEN 3 BLADE DISPOSABLE SENSITIVE 4CT</c:v>
                </c:pt>
                <c:pt idx="14">
                  <c:v>GILLETTE SENSOR 2 PLUS PIVOT 2 BLADE DISPOSABLE NORMAL 52CT</c:v>
                </c:pt>
                <c:pt idx="15">
                  <c:v>GILLETTE LIL NECESSITIES HOLIDAY GIFT PACK REM BLADES DISPOSABLE 1CT</c:v>
                </c:pt>
              </c:strCache>
            </c:strRef>
          </c:cat>
          <c:val>
            <c:numRef>
              <c:f>Sheet1!$B$2:$B$17</c:f>
              <c:numCache>
                <c:formatCode>General</c:formatCode>
                <c:ptCount val="16"/>
                <c:pt idx="0">
                  <c:v>20.09</c:v>
                </c:pt>
                <c:pt idx="1">
                  <c:v>7.29</c:v>
                </c:pt>
                <c:pt idx="2">
                  <c:v>7.27</c:v>
                </c:pt>
                <c:pt idx="3">
                  <c:v>11.92</c:v>
                </c:pt>
                <c:pt idx="4">
                  <c:v>9.2</c:v>
                </c:pt>
                <c:pt idx="5">
                  <c:v>6.93</c:v>
                </c:pt>
                <c:pt idx="6">
                  <c:v>7.15</c:v>
                </c:pt>
                <c:pt idx="7">
                  <c:v>3.77</c:v>
                </c:pt>
                <c:pt idx="8">
                  <c:v>5.26</c:v>
                </c:pt>
                <c:pt idx="9">
                  <c:v>5.15</c:v>
                </c:pt>
                <c:pt idx="10">
                  <c:v>7.9</c:v>
                </c:pt>
                <c:pt idx="11">
                  <c:v>11.13</c:v>
                </c:pt>
                <c:pt idx="12">
                  <c:v>11.13</c:v>
                </c:pt>
                <c:pt idx="13">
                  <c:v>7.46</c:v>
                </c:pt>
                <c:pt idx="14">
                  <c:v>33.52</c:v>
                </c:pt>
                <c:pt idx="15">
                  <c:v>5.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5.49</a:t>
                    </a:r>
                  </a:p>
                </c:rich>
              </c:tx>
              <c:showLegendKey val="0"/>
              <c:showVal val="1"/>
              <c:showCatName val="0"/>
              <c:showSerName val="0"/>
              <c:showPercent val="0"/>
              <c:showBubbleSize val="0"/>
            </c:dLbl>
            <c:dLbl>
              <c:idx val="1"/>
              <c:tx>
                <c:rich>
                  <a:bodyPr/>
                  <a:lstStyle/>
                  <a:p>
                    <a:r>
                      <a:t>2.18</a:t>
                    </a:r>
                  </a:p>
                </c:rich>
              </c:tx>
              <c:showLegendKey val="0"/>
              <c:showVal val="1"/>
              <c:showCatName val="0"/>
              <c:showSerName val="0"/>
              <c:showPercent val="0"/>
              <c:showBubbleSize val="0"/>
            </c:dLbl>
            <c:dLbl>
              <c:idx val="2"/>
              <c:tx>
                <c:rich>
                  <a:bodyPr/>
                  <a:lstStyle/>
                  <a:p>
                    <a:r>
                      <a:t>5.98</a:t>
                    </a:r>
                  </a:p>
                </c:rich>
              </c:tx>
              <c:showLegendKey val="0"/>
              <c:showVal val="1"/>
              <c:showCatName val="0"/>
              <c:showSerName val="0"/>
              <c:showPercent val="0"/>
              <c:showBubbleSize val="0"/>
            </c:dLbl>
            <c:dLbl>
              <c:idx val="3"/>
              <c:tx>
                <c:rich>
                  <a:bodyPr/>
                  <a:lstStyle/>
                  <a:p>
                    <a:r>
                      <a:t>3.97</a:t>
                    </a:r>
                  </a:p>
                </c:rich>
              </c:tx>
              <c:showLegendKey val="0"/>
              <c:showVal val="1"/>
              <c:showCatName val="0"/>
              <c:showSerName val="0"/>
              <c:showPercent val="0"/>
              <c:showBubbleSize val="0"/>
            </c:dLbl>
            <c:dLbl>
              <c:idx val="4"/>
              <c:tx>
                <c:rich>
                  <a:bodyPr/>
                  <a:lstStyle/>
                  <a:p>
                    <a:r>
                      <a:t>4.16</a:t>
                    </a:r>
                  </a:p>
                </c:rich>
              </c:tx>
              <c:showLegendKey val="0"/>
              <c:showVal val="1"/>
              <c:showCatName val="0"/>
              <c:showSerName val="0"/>
              <c:showPercent val="0"/>
              <c:showBubbleSize val="0"/>
            </c:dLbl>
            <c:dLbl>
              <c:idx val="5"/>
              <c:tx>
                <c:rich>
                  <a:bodyPr/>
                  <a:lstStyle/>
                  <a:p>
                    <a:r>
                      <a:t>6.93</a:t>
                    </a:r>
                  </a:p>
                </c:rich>
              </c:tx>
              <c:showLegendKey val="0"/>
              <c:showVal val="1"/>
              <c:showCatName val="0"/>
              <c:showSerName val="0"/>
              <c:showPercent val="0"/>
              <c:showBubbleSize val="0"/>
            </c:dLbl>
            <c:dLbl>
              <c:idx val="6"/>
              <c:tx>
                <c:rich>
                  <a:bodyPr/>
                  <a:lstStyle/>
                  <a:p>
                    <a:r>
                      <a:t>7.15</a:t>
                    </a:r>
                  </a:p>
                </c:rich>
              </c:tx>
              <c:showLegendKey val="0"/>
              <c:showVal val="1"/>
              <c:showCatName val="0"/>
              <c:showSerName val="0"/>
              <c:showPercent val="0"/>
              <c:showBubbleSize val="0"/>
            </c:dLbl>
            <c:dLbl>
              <c:idx val="7"/>
              <c:tx>
                <c:rich>
                  <a:bodyPr/>
                  <a:lstStyle/>
                  <a:p>
                    <a:r>
                      <a:t>3.77</a:t>
                    </a:r>
                  </a:p>
                </c:rich>
              </c:tx>
              <c:showLegendKey val="0"/>
              <c:showVal val="1"/>
              <c:showCatName val="0"/>
              <c:showSerName val="0"/>
              <c:showPercent val="0"/>
              <c:showBubbleSize val="0"/>
            </c:dLbl>
            <c:dLbl>
              <c:idx val="8"/>
              <c:tx>
                <c:rich>
                  <a:bodyPr/>
                  <a:lstStyle/>
                  <a:p>
                    <a:r>
                      <a:t>5.26</a:t>
                    </a:r>
                  </a:p>
                </c:rich>
              </c:tx>
              <c:showLegendKey val="0"/>
              <c:showVal val="1"/>
              <c:showCatName val="0"/>
              <c:showSerName val="0"/>
              <c:showPercent val="0"/>
              <c:showBubbleSize val="0"/>
            </c:dLbl>
            <c:dLbl>
              <c:idx val="9"/>
              <c:tx>
                <c:rich>
                  <a:bodyPr/>
                  <a:lstStyle/>
                  <a:p>
                    <a:r>
                      <a:t>5.15</a:t>
                    </a:r>
                  </a:p>
                </c:rich>
              </c:tx>
              <c:showLegendKey val="0"/>
              <c:showVal val="1"/>
              <c:showCatName val="0"/>
              <c:showSerName val="0"/>
              <c:showPercent val="0"/>
              <c:showBubbleSize val="0"/>
            </c:dLbl>
            <c:dLbl>
              <c:idx val="10"/>
              <c:tx>
                <c:rich>
                  <a:bodyPr/>
                  <a:lstStyle/>
                  <a:p>
                    <a:r>
                      <a:t>7.9</a:t>
                    </a:r>
                  </a:p>
                </c:rich>
              </c:tx>
              <c:showLegendKey val="0"/>
              <c:showVal val="1"/>
              <c:showCatName val="0"/>
              <c:showSerName val="0"/>
              <c:showPercent val="0"/>
              <c:showBubbleSize val="0"/>
            </c:dLbl>
            <c:dLbl>
              <c:idx val="11"/>
              <c:tx>
                <c:rich>
                  <a:bodyPr/>
                  <a:lstStyle/>
                  <a:p>
                    <a:r>
                      <a:t>11.13</a:t>
                    </a:r>
                  </a:p>
                </c:rich>
              </c:tx>
              <c:showLegendKey val="0"/>
              <c:showVal val="1"/>
              <c:showCatName val="0"/>
              <c:showSerName val="0"/>
              <c:showPercent val="0"/>
              <c:showBubbleSize val="0"/>
            </c:dLbl>
            <c:dLbl>
              <c:idx val="12"/>
              <c:tx>
                <c:rich>
                  <a:bodyPr/>
                  <a:lstStyle/>
                  <a:p>
                    <a:r>
                      <a:t>11.13</a:t>
                    </a:r>
                  </a:p>
                </c:rich>
              </c:tx>
              <c:showLegendKey val="0"/>
              <c:showVal val="1"/>
              <c:showCatName val="0"/>
              <c:showSerName val="0"/>
              <c:showPercent val="0"/>
              <c:showBubbleSize val="0"/>
            </c:dLbl>
            <c:dLbl>
              <c:idx val="13"/>
              <c:tx>
                <c:rich>
                  <a:bodyPr/>
                  <a:lstStyle/>
                  <a:p>
                    <a:r>
                      <a:t>7.46</a:t>
                    </a:r>
                  </a:p>
                </c:rich>
              </c:tx>
              <c:showLegendKey val="0"/>
              <c:showVal val="1"/>
              <c:showCatName val="0"/>
              <c:showSerName val="0"/>
              <c:showPercent val="0"/>
              <c:showBubbleSize val="0"/>
            </c:dLbl>
            <c:dLbl>
              <c:idx val="14"/>
              <c:tx>
                <c:rich>
                  <a:bodyPr/>
                  <a:lstStyle/>
                  <a:p>
                    <a:r>
                      <a:t>33.52</a:t>
                    </a:r>
                  </a:p>
                </c:rich>
              </c:tx>
              <c:showLegendKey val="0"/>
              <c:showVal val="1"/>
              <c:showCatName val="0"/>
              <c:showSerName val="0"/>
              <c:showPercent val="0"/>
              <c:showBubbleSize val="0"/>
            </c:dLbl>
            <c:dLbl>
              <c:idx val="15"/>
              <c:tx>
                <c:rich>
                  <a:bodyPr/>
                  <a:lstStyle/>
                  <a:p>
                    <a:r>
                      <a:t>5.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EQUATE CALIBER 5 5 BLADE DISPOSABLE NORMAL 3CT</c:v>
                </c:pt>
                <c:pt idx="1">
                  <c:v>EQUATE TB (TWIN BLADE) BLUE 2 BLADE DISPOSABLE NORMAL 12CT</c:v>
                </c:pt>
                <c:pt idx="2">
                  <c:v>EQUATE SPEED 3 SENSITIVE GREEN 3 BLADE DISPOSABLE SENSITIVE 8CT</c:v>
                </c:pt>
                <c:pt idx="3">
                  <c:v>EQUATE SPEED 3 SENSITIVE GREEN 3 BLADE DISPOSABLE SENSITIVE 4CT</c:v>
                </c:pt>
                <c:pt idx="4">
                  <c:v>EQUATE CALIBER 3 3 BLADE DISPOSABLE NORMAL 3CT</c:v>
                </c:pt>
                <c:pt idx="5">
                  <c:v>BIC FLEX 4 4 BLADE DISPOSABLE SENSITIVE 3CT</c:v>
                </c:pt>
                <c:pt idx="6">
                  <c:v>BIC FLEX 5 BLACK WHITE 5 BLADE DISPOSABLE NORMAL 2CT</c:v>
                </c:pt>
                <c:pt idx="7">
                  <c:v>BIC SINGLE SENSITIVE 1 BLADE DISPOSABLE SENSITIVE 12CT</c:v>
                </c:pt>
                <c:pt idx="8">
                  <c:v>BIC FLEX 3 3 BLADE DISPOSABLE NORMAL 2CT</c:v>
                </c:pt>
                <c:pt idx="9">
                  <c:v>BIC SENSITIVE 3 3 BLADE DISPOSABLE SENSITIVE 5CT</c:v>
                </c:pt>
                <c:pt idx="10">
                  <c:v>GILLETTE MACH 3 MULTI COLOR 3 BLADE DISPOSABLE SENSITIVE 3CT</c:v>
                </c:pt>
                <c:pt idx="11">
                  <c:v>GILLETTE SENSOR 2 FIXED 2 BLADE DISPOSABLE NORMAL 12CT</c:v>
                </c:pt>
                <c:pt idx="12">
                  <c:v>GILLETTE SENSOR 2 PLUS PIVOT 2 BLADE DISPOSABLE NORMAL 10CT</c:v>
                </c:pt>
                <c:pt idx="13">
                  <c:v>GILLETTE SENSOR 3 SENSITIVE GREEN 3 BLADE DISPOSABLE SENSITIVE 4CT</c:v>
                </c:pt>
                <c:pt idx="14">
                  <c:v>GILLETTE SENSOR 2 PLUS PIVOT 2 BLADE DISPOSABLE NORMAL 52CT</c:v>
                </c:pt>
                <c:pt idx="15">
                  <c:v>GILLETTE LIL NECESSITIES HOLIDAY GIFT PACK REM BLADES DISPOSABLE 1CT</c:v>
                </c:pt>
              </c:strCache>
            </c:strRef>
          </c:cat>
          <c:val>
            <c:numRef>
              <c:f>Sheet1!$B$2:$B$17</c:f>
              <c:numCache>
                <c:formatCode>General</c:formatCode>
                <c:ptCount val="16"/>
                <c:pt idx="0">
                  <c:v>5.49</c:v>
                </c:pt>
                <c:pt idx="1">
                  <c:v>2.18</c:v>
                </c:pt>
                <c:pt idx="2">
                  <c:v>5.98</c:v>
                </c:pt>
                <c:pt idx="3">
                  <c:v>3.97</c:v>
                </c:pt>
                <c:pt idx="4">
                  <c:v>4.16</c:v>
                </c:pt>
                <c:pt idx="5">
                  <c:v>6.93</c:v>
                </c:pt>
                <c:pt idx="6">
                  <c:v>7.15</c:v>
                </c:pt>
                <c:pt idx="7">
                  <c:v>3.77</c:v>
                </c:pt>
                <c:pt idx="8">
                  <c:v>5.26</c:v>
                </c:pt>
                <c:pt idx="9">
                  <c:v>5.15</c:v>
                </c:pt>
                <c:pt idx="10">
                  <c:v>7.9</c:v>
                </c:pt>
                <c:pt idx="11">
                  <c:v>11.13</c:v>
                </c:pt>
                <c:pt idx="12">
                  <c:v>11.13</c:v>
                </c:pt>
                <c:pt idx="13">
                  <c:v>7.46</c:v>
                </c:pt>
                <c:pt idx="14">
                  <c:v>33.52</c:v>
                </c:pt>
                <c:pt idx="15">
                  <c:v>5.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1</a:t>
                    </a:r>
                  </a:p>
                </c:rich>
              </c:tx>
              <c:showLegendKey val="0"/>
              <c:showVal val="1"/>
              <c:showCatName val="0"/>
              <c:showSerName val="0"/>
              <c:showPercent val="0"/>
              <c:showBubbleSize val="0"/>
            </c:dLbl>
            <c:dLbl>
              <c:idx val="1"/>
              <c:tx>
                <c:rich>
                  <a:bodyPr/>
                  <a:lstStyle/>
                  <a:p>
                    <a:r>
                      <a:t>24.71</a:t>
                    </a:r>
                  </a:p>
                </c:rich>
              </c:tx>
              <c:showLegendKey val="0"/>
              <c:showVal val="1"/>
              <c:showCatName val="0"/>
              <c:showSerName val="0"/>
              <c:showPercent val="0"/>
              <c:showBubbleSize val="0"/>
            </c:dLbl>
            <c:dLbl>
              <c:idx val="2"/>
              <c:tx>
                <c:rich>
                  <a:bodyPr/>
                  <a:lstStyle/>
                  <a:p>
                    <a:r>
                      <a:t>33.57</a:t>
                    </a:r>
                  </a:p>
                </c:rich>
              </c:tx>
              <c:showLegendKey val="0"/>
              <c:showVal val="1"/>
              <c:showCatName val="0"/>
              <c:showSerName val="0"/>
              <c:showPercent val="0"/>
              <c:showBubbleSize val="0"/>
            </c:dLbl>
            <c:dLbl>
              <c:idx val="3"/>
              <c:tx>
                <c:rich>
                  <a:bodyPr/>
                  <a:lstStyle/>
                  <a:p>
                    <a:r>
                      <a:t>23.98</a:t>
                    </a:r>
                  </a:p>
                </c:rich>
              </c:tx>
              <c:showLegendKey val="0"/>
              <c:showVal val="1"/>
              <c:showCatName val="0"/>
              <c:showSerName val="0"/>
              <c:showPercent val="0"/>
              <c:showBubbleSize val="0"/>
            </c:dLbl>
            <c:dLbl>
              <c:idx val="4"/>
              <c:tx>
                <c:rich>
                  <a:bodyPr/>
                  <a:lstStyle/>
                  <a:p>
                    <a:r>
                      <a:t>19.4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CHICK XTREME 3 SENSITIVE BLACK GREEN 3 BLADE DISPOSABLE SENSITIVE 20CT</c:v>
                </c:pt>
                <c:pt idx="1">
                  <c:v>SCHICK XTREME 3 SENSITIVE BLACK 3 BLADE DISPOSABLE SENSITIVE 20CT</c:v>
                </c:pt>
                <c:pt idx="2">
                  <c:v>GILLETTE SENSOR 2 PLUS PIVOT 2 BLADE DISPOSABLE NORMAL 52CT</c:v>
                </c:pt>
                <c:pt idx="3">
                  <c:v>GILLETTE SENSOR 3 SENSITIVE BLUE GREEN 3 BLADE DISPOSABLE SENSITIVE 24CT</c:v>
                </c:pt>
                <c:pt idx="4">
                  <c:v>BIC FLEX 5 BLACK WHITE 5 BLADE DISPOSABLE NORMAL 9CT</c:v>
                </c:pt>
              </c:strCache>
            </c:strRef>
          </c:cat>
          <c:val>
            <c:numRef>
              <c:f>Sheet1!$B$2:$B$6</c:f>
              <c:numCache>
                <c:formatCode>General</c:formatCode>
                <c:ptCount val="5"/>
                <c:pt idx="0">
                  <c:v>20.1</c:v>
                </c:pt>
                <c:pt idx="1">
                  <c:v>24.71</c:v>
                </c:pt>
                <c:pt idx="2">
                  <c:v>33.57</c:v>
                </c:pt>
                <c:pt idx="3">
                  <c:v>23.98</c:v>
                </c:pt>
                <c:pt idx="4">
                  <c:v>19.4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5</a:t>
                    </a:r>
                  </a:p>
                </c:rich>
              </c:tx>
              <c:showLegendKey val="0"/>
              <c:showVal val="1"/>
              <c:showCatName val="0"/>
              <c:showSerName val="0"/>
              <c:showPercent val="0"/>
              <c:showBubbleSize val="0"/>
            </c:dLbl>
            <c:dLbl>
              <c:idx val="1"/>
              <c:tx>
                <c:rich>
                  <a:bodyPr/>
                  <a:lstStyle/>
                  <a:p>
                    <a:r>
                      <a:t>11.02</a:t>
                    </a:r>
                  </a:p>
                </c:rich>
              </c:tx>
              <c:showLegendKey val="0"/>
              <c:showVal val="1"/>
              <c:showCatName val="0"/>
              <c:showSerName val="0"/>
              <c:showPercent val="0"/>
              <c:showBubbleSize val="0"/>
            </c:dLbl>
            <c:dLbl>
              <c:idx val="2"/>
              <c:tx>
                <c:rich>
                  <a:bodyPr/>
                  <a:lstStyle/>
                  <a:p>
                    <a:r>
                      <a:t>11.02</a:t>
                    </a:r>
                  </a:p>
                </c:rich>
              </c:tx>
              <c:showLegendKey val="0"/>
              <c:showVal val="1"/>
              <c:showCatName val="0"/>
              <c:showSerName val="0"/>
              <c:showPercent val="0"/>
              <c:showBubbleSize val="0"/>
            </c:dLbl>
            <c:dLbl>
              <c:idx val="3"/>
              <c:tx>
                <c:rich>
                  <a:bodyPr/>
                  <a:lstStyle/>
                  <a:p>
                    <a:r>
                      <a:t>6.53</a:t>
                    </a:r>
                  </a:p>
                </c:rich>
              </c:tx>
              <c:showLegendKey val="0"/>
              <c:showVal val="1"/>
              <c:showCatName val="0"/>
              <c:showSerName val="0"/>
              <c:showPercent val="0"/>
              <c:showBubbleSize val="0"/>
            </c:dLbl>
            <c:dLbl>
              <c:idx val="4"/>
              <c:tx>
                <c:rich>
                  <a:bodyPr/>
                  <a:lstStyle/>
                  <a:p>
                    <a:r>
                      <a:t>15.1</a:t>
                    </a:r>
                  </a:p>
                </c:rich>
              </c:tx>
              <c:showLegendKey val="0"/>
              <c:showVal val="1"/>
              <c:showCatName val="0"/>
              <c:showSerName val="0"/>
              <c:showPercent val="0"/>
              <c:showBubbleSize val="0"/>
            </c:dLbl>
            <c:dLbl>
              <c:idx val="5"/>
              <c:tx>
                <c:rich>
                  <a:bodyPr/>
                  <a:lstStyle/>
                  <a:p>
                    <a:r>
                      <a:t>3.43</a:t>
                    </a:r>
                  </a:p>
                </c:rich>
              </c:tx>
              <c:showLegendKey val="0"/>
              <c:showVal val="1"/>
              <c:showCatName val="0"/>
              <c:showSerName val="0"/>
              <c:showPercent val="0"/>
              <c:showBubbleSize val="0"/>
            </c:dLbl>
            <c:dLbl>
              <c:idx val="6"/>
              <c:tx>
                <c:rich>
                  <a:bodyPr/>
                  <a:lstStyle/>
                  <a:p>
                    <a:r>
                      <a:t>6.94</a:t>
                    </a:r>
                  </a:p>
                </c:rich>
              </c:tx>
              <c:showLegendKey val="0"/>
              <c:showVal val="1"/>
              <c:showCatName val="0"/>
              <c:showSerName val="0"/>
              <c:showPercent val="0"/>
              <c:showBubbleSize val="0"/>
            </c:dLbl>
            <c:dLbl>
              <c:idx val="7"/>
              <c:tx>
                <c:rich>
                  <a:bodyPr/>
                  <a:lstStyle/>
                  <a:p>
                    <a:r>
                      <a:t>10.92</a:t>
                    </a:r>
                  </a:p>
                </c:rich>
              </c:tx>
              <c:showLegendKey val="0"/>
              <c:showVal val="1"/>
              <c:showCatName val="0"/>
              <c:showSerName val="0"/>
              <c:showPercent val="0"/>
              <c:showBubbleSize val="0"/>
            </c:dLbl>
            <c:dLbl>
              <c:idx val="8"/>
              <c:tx>
                <c:rich>
                  <a:bodyPr/>
                  <a:lstStyle/>
                  <a:p>
                    <a:r>
                      <a:t>3.98</a:t>
                    </a:r>
                  </a:p>
                </c:rich>
              </c:tx>
              <c:showLegendKey val="0"/>
              <c:showVal val="1"/>
              <c:showCatName val="0"/>
              <c:showSerName val="0"/>
              <c:showPercent val="0"/>
              <c:showBubbleSize val="0"/>
            </c:dLbl>
            <c:dLbl>
              <c:idx val="9"/>
              <c:tx>
                <c:rich>
                  <a:bodyPr/>
                  <a:lstStyle/>
                  <a:p>
                    <a:r>
                      <a:t>6.45</a:t>
                    </a:r>
                  </a:p>
                </c:rich>
              </c:tx>
              <c:showLegendKey val="0"/>
              <c:showVal val="1"/>
              <c:showCatName val="0"/>
              <c:showSerName val="0"/>
              <c:showPercent val="0"/>
              <c:showBubbleSize val="0"/>
            </c:dLbl>
            <c:dLbl>
              <c:idx val="10"/>
              <c:tx>
                <c:rich>
                  <a:bodyPr/>
                  <a:lstStyle/>
                  <a:p>
                    <a:r>
                      <a:t>9.98</a:t>
                    </a:r>
                  </a:p>
                </c:rich>
              </c:tx>
              <c:showLegendKey val="0"/>
              <c:showVal val="1"/>
              <c:showCatName val="0"/>
              <c:showSerName val="0"/>
              <c:showPercent val="0"/>
              <c:showBubbleSize val="0"/>
            </c:dLbl>
            <c:dLbl>
              <c:idx val="11"/>
              <c:tx>
                <c:rich>
                  <a:bodyPr/>
                  <a:lstStyle/>
                  <a:p>
                    <a:r>
                      <a:t>6.97</a:t>
                    </a:r>
                  </a:p>
                </c:rich>
              </c:tx>
              <c:showLegendKey val="0"/>
              <c:showVal val="1"/>
              <c:showCatName val="0"/>
              <c:showSerName val="0"/>
              <c:showPercent val="0"/>
              <c:showBubbleSize val="0"/>
            </c:dLbl>
            <c:dLbl>
              <c:idx val="12"/>
              <c:tx>
                <c:rich>
                  <a:bodyPr/>
                  <a:lstStyle/>
                  <a:p>
                    <a:r>
                      <a:t>9.98</a:t>
                    </a:r>
                  </a:p>
                </c:rich>
              </c:tx>
              <c:showLegendKey val="0"/>
              <c:showVal val="1"/>
              <c:showCatName val="0"/>
              <c:showSerName val="0"/>
              <c:showPercent val="0"/>
              <c:showBubbleSize val="0"/>
            </c:dLbl>
            <c:dLbl>
              <c:idx val="13"/>
              <c:tx>
                <c:rich>
                  <a:bodyPr/>
                  <a:lstStyle/>
                  <a:p>
                    <a:r>
                      <a:t>15.0</a:t>
                    </a:r>
                  </a:p>
                </c:rich>
              </c:tx>
              <c:showLegendKey val="0"/>
              <c:showVal val="1"/>
              <c:showCatName val="0"/>
              <c:showSerName val="0"/>
              <c:showPercent val="0"/>
              <c:showBubbleSize val="0"/>
            </c:dLbl>
            <c:dLbl>
              <c:idx val="14"/>
              <c:tx>
                <c:rich>
                  <a:bodyPr/>
                  <a:lstStyle/>
                  <a:p>
                    <a:r>
                      <a:t>6.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CHICK XTREME 2 SENSITIVE 2 BLADE DISPOSABLE NORMAL 12CT</c:v>
                </c:pt>
                <c:pt idx="1">
                  <c:v>SCHICK XTREME 3 SENSITIVE GREEN 3 BLADE DISPOSABLE SENSITIVE 8CT</c:v>
                </c:pt>
                <c:pt idx="2">
                  <c:v>SCHICK XTREME 3 SENSITIVE GREEN BLACK 3 BLADE DISPOSABLE SENSITIVE 8CT</c:v>
                </c:pt>
                <c:pt idx="3">
                  <c:v>SCHICK XTREME 3 SENSITIVE GREEN BLACK 3 BLADE DISPOSABLE SENSITIVE 4CT</c:v>
                </c:pt>
                <c:pt idx="4">
                  <c:v>SCHICK XTREME 3 SENSITIVE GREEN BLACK 3 BLADE DISPOSABLE SENSITIVE 12CT</c:v>
                </c:pt>
                <c:pt idx="5">
                  <c:v>BIC SINGLE SENSITIVE 1 BLADE DISPOSABLE SENSITIVE 12CT</c:v>
                </c:pt>
                <c:pt idx="6">
                  <c:v>BIC FLEX 5 BLACK WHITE 5 BLADE DISPOSABLE NORMAL 2CT</c:v>
                </c:pt>
                <c:pt idx="7">
                  <c:v>BIC FLEX 5 5 BLADE DISPOSABLE NORMAL 4CT</c:v>
                </c:pt>
                <c:pt idx="8">
                  <c:v>BIC COMFORT 3 MULTI COLOR 3 BLADE DISPOSABLE SENSITIVE 4CT</c:v>
                </c:pt>
                <c:pt idx="9">
                  <c:v>BIC FLEX 4 4 BLADE DISPOSABLE SENSITIVE 3CT</c:v>
                </c:pt>
                <c:pt idx="10">
                  <c:v>GILLETTE SENSOR 2 FIXED 2 BLADE DISPOSABLE NORMAL 12CT</c:v>
                </c:pt>
                <c:pt idx="11">
                  <c:v>GILLETTE MACH 3 MULTI COLOR 3 BLADE DISPOSABLE SENSITIVE 3CT</c:v>
                </c:pt>
                <c:pt idx="12">
                  <c:v>GILLETTE SENSOR 2 PLUS PIVOT 2 BLADE DISPOSABLE NORMAL 10CT</c:v>
                </c:pt>
                <c:pt idx="13">
                  <c:v>GILLETTE SENSOR 2 FIXED 2 BLADE DISPOSABLE NORMAL 18CT</c:v>
                </c:pt>
                <c:pt idx="14">
                  <c:v>GILLETTE SENSOR 3 SENSITIVE GREEN 3 BLADE DISPOSABLE SENSITIVE 4CT</c:v>
                </c:pt>
              </c:strCache>
            </c:strRef>
          </c:cat>
          <c:val>
            <c:numRef>
              <c:f>Sheet1!$B$2:$B$16</c:f>
              <c:numCache>
                <c:formatCode>General</c:formatCode>
                <c:ptCount val="15"/>
                <c:pt idx="0">
                  <c:v>6.5</c:v>
                </c:pt>
                <c:pt idx="1">
                  <c:v>11.02</c:v>
                </c:pt>
                <c:pt idx="2">
                  <c:v>11.02</c:v>
                </c:pt>
                <c:pt idx="3">
                  <c:v>6.53</c:v>
                </c:pt>
                <c:pt idx="4">
                  <c:v>15.1</c:v>
                </c:pt>
                <c:pt idx="5">
                  <c:v>3.43</c:v>
                </c:pt>
                <c:pt idx="6">
                  <c:v>6.94</c:v>
                </c:pt>
                <c:pt idx="7">
                  <c:v>10.92</c:v>
                </c:pt>
                <c:pt idx="8">
                  <c:v>3.98</c:v>
                </c:pt>
                <c:pt idx="9">
                  <c:v>6.45</c:v>
                </c:pt>
                <c:pt idx="10">
                  <c:v>9.98</c:v>
                </c:pt>
                <c:pt idx="11">
                  <c:v>6.97</c:v>
                </c:pt>
                <c:pt idx="12">
                  <c:v>9.98</c:v>
                </c:pt>
                <c:pt idx="13">
                  <c:v>15.0</c:v>
                </c:pt>
                <c:pt idx="14">
                  <c:v>6.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8</a:t>
                    </a:r>
                  </a:p>
                </c:rich>
              </c:tx>
              <c:dLblPos val="t"/>
              <c:showLegendKey val="0"/>
              <c:showVal val="1"/>
              <c:showCatName val="0"/>
              <c:showSerName val="0"/>
              <c:showPercent val="0"/>
              <c:showBubbleSize val="0"/>
            </c:dLbl>
            <c:dLbl>
              <c:idx val="1"/>
              <c:tx>
                <c:rich>
                  <a:bodyPr/>
                  <a:lstStyle/>
                  <a:p>
                    <a:r>
                      <a:t>15.89</a:t>
                    </a:r>
                  </a:p>
                </c:rich>
              </c:tx>
              <c:dLblPos val="t"/>
              <c:showLegendKey val="0"/>
              <c:showVal val="1"/>
              <c:showCatName val="0"/>
              <c:showSerName val="0"/>
              <c:showPercent val="0"/>
              <c:showBubbleSize val="0"/>
            </c:dLbl>
            <c:dLbl>
              <c:idx val="2"/>
              <c:tx>
                <c:rich>
                  <a:bodyPr/>
                  <a:lstStyle/>
                  <a:p>
                    <a:r>
                      <a:t>10.95</a:t>
                    </a:r>
                  </a:p>
                </c:rich>
              </c:tx>
              <c:dLblPos val="t"/>
              <c:showLegendKey val="0"/>
              <c:showVal val="1"/>
              <c:showCatName val="0"/>
              <c:showSerName val="0"/>
              <c:showPercent val="0"/>
              <c:showBubbleSize val="0"/>
            </c:dLbl>
            <c:dLbl>
              <c:idx val="3"/>
              <c:tx>
                <c:rich>
                  <a:bodyPr/>
                  <a:lstStyle/>
                  <a:p>
                    <a:r>
                      <a:t>16.67</a:t>
                    </a:r>
                  </a:p>
                </c:rich>
              </c:tx>
              <c:dLblPos val="t"/>
              <c:showLegendKey val="0"/>
              <c:showVal val="1"/>
              <c:showCatName val="0"/>
              <c:showSerName val="0"/>
              <c:showPercent val="0"/>
              <c:showBubbleSize val="0"/>
            </c:dLbl>
            <c:dLbl>
              <c:idx val="4"/>
              <c:tx>
                <c:rich>
                  <a:bodyPr/>
                  <a:lstStyle/>
                  <a:p>
                    <a:r>
                      <a:t>24.4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REMO 5 BLADE REFILL NORMAL 4CT</c:v>
                </c:pt>
                <c:pt idx="1">
                  <c:v>CREMO 5 BLADE RAZOR NORMAL 2CT</c:v>
                </c:pt>
                <c:pt idx="2">
                  <c:v>CREMO SILVER HOLIDAY GIFT PACK 5 BLADE RAZOR 5CT</c:v>
                </c:pt>
                <c:pt idx="3">
                  <c:v>CREMO SILVER HOLIDAY GIFT PACK REM BLADES RAZOR 5CT</c:v>
                </c:pt>
                <c:pt idx="4">
                  <c:v>CREMO HERITAGE BLACK HOLIDAY GIFT PACK REM BLADES RAZOR 5CT</c:v>
                </c:pt>
              </c:strCache>
            </c:strRef>
          </c:cat>
          <c:val>
            <c:numRef>
              <c:f>Sheet1!$B$2:$B$6</c:f>
              <c:numCache>
                <c:formatCode>General</c:formatCode>
                <c:ptCount val="5"/>
                <c:pt idx="0">
                  <c:v>13.8</c:v>
                </c:pt>
                <c:pt idx="1">
                  <c:v>15.89</c:v>
                </c:pt>
                <c:pt idx="2">
                  <c:v>10.95</c:v>
                </c:pt>
                <c:pt idx="3">
                  <c:v>16.67</c:v>
                </c:pt>
                <c:pt idx="4">
                  <c:v>24.4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5.49</a:t>
                    </a:r>
                  </a:p>
                </c:rich>
              </c:tx>
              <c:showLegendKey val="0"/>
              <c:showVal val="1"/>
              <c:showCatName val="0"/>
              <c:showSerName val="0"/>
              <c:showPercent val="0"/>
              <c:showBubbleSize val="0"/>
            </c:dLbl>
            <c:dLbl>
              <c:idx val="1"/>
              <c:tx>
                <c:rich>
                  <a:bodyPr/>
                  <a:lstStyle/>
                  <a:p>
                    <a:r>
                      <a:t>2.18</a:t>
                    </a:r>
                  </a:p>
                </c:rich>
              </c:tx>
              <c:showLegendKey val="0"/>
              <c:showVal val="1"/>
              <c:showCatName val="0"/>
              <c:showSerName val="0"/>
              <c:showPercent val="0"/>
              <c:showBubbleSize val="0"/>
            </c:dLbl>
            <c:dLbl>
              <c:idx val="2"/>
              <c:tx>
                <c:rich>
                  <a:bodyPr/>
                  <a:lstStyle/>
                  <a:p>
                    <a:r>
                      <a:t>5.98</a:t>
                    </a:r>
                  </a:p>
                </c:rich>
              </c:tx>
              <c:showLegendKey val="0"/>
              <c:showVal val="1"/>
              <c:showCatName val="0"/>
              <c:showSerName val="0"/>
              <c:showPercent val="0"/>
              <c:showBubbleSize val="0"/>
            </c:dLbl>
            <c:dLbl>
              <c:idx val="3"/>
              <c:tx>
                <c:rich>
                  <a:bodyPr/>
                  <a:lstStyle/>
                  <a:p>
                    <a:r>
                      <a:t>3.97</a:t>
                    </a:r>
                  </a:p>
                </c:rich>
              </c:tx>
              <c:showLegendKey val="0"/>
              <c:showVal val="1"/>
              <c:showCatName val="0"/>
              <c:showSerName val="0"/>
              <c:showPercent val="0"/>
              <c:showBubbleSize val="0"/>
            </c:dLbl>
            <c:dLbl>
              <c:idx val="4"/>
              <c:tx>
                <c:rich>
                  <a:bodyPr/>
                  <a:lstStyle/>
                  <a:p>
                    <a:r>
                      <a:t>4.15</a:t>
                    </a:r>
                  </a:p>
                </c:rich>
              </c:tx>
              <c:showLegendKey val="0"/>
              <c:showVal val="1"/>
              <c:showCatName val="0"/>
              <c:showSerName val="0"/>
              <c:showPercent val="0"/>
              <c:showBubbleSize val="0"/>
            </c:dLbl>
            <c:dLbl>
              <c:idx val="5"/>
              <c:tx>
                <c:rich>
                  <a:bodyPr/>
                  <a:lstStyle/>
                  <a:p>
                    <a:r>
                      <a:t>3.43</a:t>
                    </a:r>
                  </a:p>
                </c:rich>
              </c:tx>
              <c:showLegendKey val="0"/>
              <c:showVal val="1"/>
              <c:showCatName val="0"/>
              <c:showSerName val="0"/>
              <c:showPercent val="0"/>
              <c:showBubbleSize val="0"/>
            </c:dLbl>
            <c:dLbl>
              <c:idx val="6"/>
              <c:tx>
                <c:rich>
                  <a:bodyPr/>
                  <a:lstStyle/>
                  <a:p>
                    <a:r>
                      <a:t>6.94</a:t>
                    </a:r>
                  </a:p>
                </c:rich>
              </c:tx>
              <c:showLegendKey val="0"/>
              <c:showVal val="1"/>
              <c:showCatName val="0"/>
              <c:showSerName val="0"/>
              <c:showPercent val="0"/>
              <c:showBubbleSize val="0"/>
            </c:dLbl>
            <c:dLbl>
              <c:idx val="7"/>
              <c:tx>
                <c:rich>
                  <a:bodyPr/>
                  <a:lstStyle/>
                  <a:p>
                    <a:r>
                      <a:t>10.92</a:t>
                    </a:r>
                  </a:p>
                </c:rich>
              </c:tx>
              <c:showLegendKey val="0"/>
              <c:showVal val="1"/>
              <c:showCatName val="0"/>
              <c:showSerName val="0"/>
              <c:showPercent val="0"/>
              <c:showBubbleSize val="0"/>
            </c:dLbl>
            <c:dLbl>
              <c:idx val="8"/>
              <c:tx>
                <c:rich>
                  <a:bodyPr/>
                  <a:lstStyle/>
                  <a:p>
                    <a:r>
                      <a:t>3.98</a:t>
                    </a:r>
                  </a:p>
                </c:rich>
              </c:tx>
              <c:showLegendKey val="0"/>
              <c:showVal val="1"/>
              <c:showCatName val="0"/>
              <c:showSerName val="0"/>
              <c:showPercent val="0"/>
              <c:showBubbleSize val="0"/>
            </c:dLbl>
            <c:dLbl>
              <c:idx val="9"/>
              <c:tx>
                <c:rich>
                  <a:bodyPr/>
                  <a:lstStyle/>
                  <a:p>
                    <a:r>
                      <a:t>6.45</a:t>
                    </a:r>
                  </a:p>
                </c:rich>
              </c:tx>
              <c:showLegendKey val="0"/>
              <c:showVal val="1"/>
              <c:showCatName val="0"/>
              <c:showSerName val="0"/>
              <c:showPercent val="0"/>
              <c:showBubbleSize val="0"/>
            </c:dLbl>
            <c:dLbl>
              <c:idx val="10"/>
              <c:tx>
                <c:rich>
                  <a:bodyPr/>
                  <a:lstStyle/>
                  <a:p>
                    <a:r>
                      <a:t>9.98</a:t>
                    </a:r>
                  </a:p>
                </c:rich>
              </c:tx>
              <c:showLegendKey val="0"/>
              <c:showVal val="1"/>
              <c:showCatName val="0"/>
              <c:showSerName val="0"/>
              <c:showPercent val="0"/>
              <c:showBubbleSize val="0"/>
            </c:dLbl>
            <c:dLbl>
              <c:idx val="11"/>
              <c:tx>
                <c:rich>
                  <a:bodyPr/>
                  <a:lstStyle/>
                  <a:p>
                    <a:r>
                      <a:t>6.97</a:t>
                    </a:r>
                  </a:p>
                </c:rich>
              </c:tx>
              <c:showLegendKey val="0"/>
              <c:showVal val="1"/>
              <c:showCatName val="0"/>
              <c:showSerName val="0"/>
              <c:showPercent val="0"/>
              <c:showBubbleSize val="0"/>
            </c:dLbl>
            <c:dLbl>
              <c:idx val="12"/>
              <c:tx>
                <c:rich>
                  <a:bodyPr/>
                  <a:lstStyle/>
                  <a:p>
                    <a:r>
                      <a:t>9.98</a:t>
                    </a:r>
                  </a:p>
                </c:rich>
              </c:tx>
              <c:showLegendKey val="0"/>
              <c:showVal val="1"/>
              <c:showCatName val="0"/>
              <c:showSerName val="0"/>
              <c:showPercent val="0"/>
              <c:showBubbleSize val="0"/>
            </c:dLbl>
            <c:dLbl>
              <c:idx val="13"/>
              <c:tx>
                <c:rich>
                  <a:bodyPr/>
                  <a:lstStyle/>
                  <a:p>
                    <a:r>
                      <a:t>15.0</a:t>
                    </a:r>
                  </a:p>
                </c:rich>
              </c:tx>
              <c:showLegendKey val="0"/>
              <c:showVal val="1"/>
              <c:showCatName val="0"/>
              <c:showSerName val="0"/>
              <c:showPercent val="0"/>
              <c:showBubbleSize val="0"/>
            </c:dLbl>
            <c:dLbl>
              <c:idx val="14"/>
              <c:tx>
                <c:rich>
                  <a:bodyPr/>
                  <a:lstStyle/>
                  <a:p>
                    <a:r>
                      <a:t>6.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QUATE CALIBER 5 5 BLADE DISPOSABLE NORMAL 3CT</c:v>
                </c:pt>
                <c:pt idx="1">
                  <c:v>EQUATE TB (TWIN BLADE) BLUE 2 BLADE DISPOSABLE NORMAL 12CT</c:v>
                </c:pt>
                <c:pt idx="2">
                  <c:v>EQUATE SPEED 3 SENSITIVE GREEN 3 BLADE DISPOSABLE SENSITIVE 8CT</c:v>
                </c:pt>
                <c:pt idx="3">
                  <c:v>EQUATE SPEED 3 SENSITIVE GREEN 3 BLADE DISPOSABLE SENSITIVE 4CT</c:v>
                </c:pt>
                <c:pt idx="4">
                  <c:v>EQUATE CALIBER 3 3 BLADE DISPOSABLE NORMAL 3CT</c:v>
                </c:pt>
                <c:pt idx="5">
                  <c:v>BIC SINGLE SENSITIVE 1 BLADE DISPOSABLE SENSITIVE 12CT</c:v>
                </c:pt>
                <c:pt idx="6">
                  <c:v>BIC FLEX 5 BLACK WHITE 5 BLADE DISPOSABLE NORMAL 2CT</c:v>
                </c:pt>
                <c:pt idx="7">
                  <c:v>BIC FLEX 5 5 BLADE DISPOSABLE NORMAL 4CT</c:v>
                </c:pt>
                <c:pt idx="8">
                  <c:v>BIC COMFORT 3 MULTI COLOR 3 BLADE DISPOSABLE SENSITIVE 4CT</c:v>
                </c:pt>
                <c:pt idx="9">
                  <c:v>BIC FLEX 4 4 BLADE DISPOSABLE SENSITIVE 3CT</c:v>
                </c:pt>
                <c:pt idx="10">
                  <c:v>GILLETTE SENSOR 2 FIXED 2 BLADE DISPOSABLE NORMAL 12CT</c:v>
                </c:pt>
                <c:pt idx="11">
                  <c:v>GILLETTE MACH 3 MULTI COLOR 3 BLADE DISPOSABLE SENSITIVE 3CT</c:v>
                </c:pt>
                <c:pt idx="12">
                  <c:v>GILLETTE SENSOR 2 PLUS PIVOT 2 BLADE DISPOSABLE NORMAL 10CT</c:v>
                </c:pt>
                <c:pt idx="13">
                  <c:v>GILLETTE SENSOR 2 FIXED 2 BLADE DISPOSABLE NORMAL 18CT</c:v>
                </c:pt>
                <c:pt idx="14">
                  <c:v>GILLETTE SENSOR 3 SENSITIVE GREEN 3 BLADE DISPOSABLE SENSITIVE 4CT</c:v>
                </c:pt>
              </c:strCache>
            </c:strRef>
          </c:cat>
          <c:val>
            <c:numRef>
              <c:f>Sheet1!$B$2:$B$16</c:f>
              <c:numCache>
                <c:formatCode>General</c:formatCode>
                <c:ptCount val="15"/>
                <c:pt idx="0">
                  <c:v>5.49</c:v>
                </c:pt>
                <c:pt idx="1">
                  <c:v>2.18</c:v>
                </c:pt>
                <c:pt idx="2">
                  <c:v>5.98</c:v>
                </c:pt>
                <c:pt idx="3">
                  <c:v>3.97</c:v>
                </c:pt>
                <c:pt idx="4">
                  <c:v>4.15</c:v>
                </c:pt>
                <c:pt idx="5">
                  <c:v>3.43</c:v>
                </c:pt>
                <c:pt idx="6">
                  <c:v>6.94</c:v>
                </c:pt>
                <c:pt idx="7">
                  <c:v>10.92</c:v>
                </c:pt>
                <c:pt idx="8">
                  <c:v>3.98</c:v>
                </c:pt>
                <c:pt idx="9">
                  <c:v>6.45</c:v>
                </c:pt>
                <c:pt idx="10">
                  <c:v>9.98</c:v>
                </c:pt>
                <c:pt idx="11">
                  <c:v>6.97</c:v>
                </c:pt>
                <c:pt idx="12">
                  <c:v>9.98</c:v>
                </c:pt>
                <c:pt idx="13">
                  <c:v>15.0</c:v>
                </c:pt>
                <c:pt idx="14">
                  <c:v>6.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9</a:t>
                    </a:r>
                  </a:p>
                </c:rich>
              </c:tx>
              <c:showLegendKey val="0"/>
              <c:showVal val="1"/>
              <c:showCatName val="0"/>
              <c:showSerName val="0"/>
              <c:showPercent val="0"/>
              <c:showBubbleSize val="0"/>
            </c:dLbl>
            <c:dLbl>
              <c:idx val="1"/>
              <c:tx>
                <c:rich>
                  <a:bodyPr/>
                  <a:lstStyle/>
                  <a:p>
                    <a:r>
                      <a:t>11.67</a:t>
                    </a:r>
                  </a:p>
                </c:rich>
              </c:tx>
              <c:showLegendKey val="0"/>
              <c:showVal val="1"/>
              <c:showCatName val="0"/>
              <c:showSerName val="0"/>
              <c:showPercent val="0"/>
              <c:showBubbleSize val="0"/>
            </c:dLbl>
            <c:dLbl>
              <c:idx val="2"/>
              <c:tx>
                <c:rich>
                  <a:bodyPr/>
                  <a:lstStyle/>
                  <a:p>
                    <a:r>
                      <a:t>38.77</a:t>
                    </a:r>
                  </a:p>
                </c:rich>
              </c:tx>
              <c:showLegendKey val="0"/>
              <c:showVal val="1"/>
              <c:showCatName val="0"/>
              <c:showSerName val="0"/>
              <c:showPercent val="0"/>
              <c:showBubbleSize val="0"/>
            </c:dLbl>
            <c:dLbl>
              <c:idx val="3"/>
              <c:tx>
                <c:rich>
                  <a:bodyPr/>
                  <a:lstStyle/>
                  <a:p>
                    <a:r>
                      <a:t>12.0</a:t>
                    </a:r>
                  </a:p>
                </c:rich>
              </c:tx>
              <c:showLegendKey val="0"/>
              <c:showVal val="1"/>
              <c:showCatName val="0"/>
              <c:showSerName val="0"/>
              <c:showPercent val="0"/>
              <c:showBubbleSize val="0"/>
            </c:dLbl>
            <c:dLbl>
              <c:idx val="4"/>
              <c:tx>
                <c:rich>
                  <a:bodyPr/>
                  <a:lstStyle/>
                  <a:p>
                    <a:r>
                      <a:t>12.71</a:t>
                    </a:r>
                  </a:p>
                </c:rich>
              </c:tx>
              <c:showLegendKey val="0"/>
              <c:showVal val="1"/>
              <c:showCatName val="0"/>
              <c:showSerName val="0"/>
              <c:showPercent val="0"/>
              <c:showBubbleSize val="0"/>
            </c:dLbl>
            <c:dLbl>
              <c:idx val="5"/>
              <c:tx>
                <c:rich>
                  <a:bodyPr/>
                  <a:lstStyle/>
                  <a:p>
                    <a:r>
                      <a:t>13.7</a:t>
                    </a:r>
                  </a:p>
                </c:rich>
              </c:tx>
              <c:showLegendKey val="0"/>
              <c:showVal val="1"/>
              <c:showCatName val="0"/>
              <c:showSerName val="0"/>
              <c:showPercent val="0"/>
              <c:showBubbleSize val="0"/>
            </c:dLbl>
            <c:dLbl>
              <c:idx val="6"/>
              <c:tx>
                <c:rich>
                  <a:bodyPr/>
                  <a:lstStyle/>
                  <a:p>
                    <a:r>
                      <a:t>24.45</a:t>
                    </a:r>
                  </a:p>
                </c:rich>
              </c:tx>
              <c:showLegendKey val="0"/>
              <c:showVal val="1"/>
              <c:showCatName val="0"/>
              <c:showSerName val="0"/>
              <c:showPercent val="0"/>
              <c:showBubbleSize val="0"/>
            </c:dLbl>
            <c:dLbl>
              <c:idx val="7"/>
              <c:tx>
                <c:rich>
                  <a:bodyPr/>
                  <a:lstStyle/>
                  <a:p>
                    <a:r>
                      <a:t>21.35</a:t>
                    </a:r>
                  </a:p>
                </c:rich>
              </c:tx>
              <c:showLegendKey val="0"/>
              <c:showVal val="1"/>
              <c:showCatName val="0"/>
              <c:showSerName val="0"/>
              <c:showPercent val="0"/>
              <c:showBubbleSize val="0"/>
            </c:dLbl>
            <c:dLbl>
              <c:idx val="8"/>
              <c:tx>
                <c:rich>
                  <a:bodyPr/>
                  <a:lstStyle/>
                  <a:p>
                    <a:r>
                      <a:t>10.38</a:t>
                    </a:r>
                  </a:p>
                </c:rich>
              </c:tx>
              <c:showLegendKey val="0"/>
              <c:showVal val="1"/>
              <c:showCatName val="0"/>
              <c:showSerName val="0"/>
              <c:showPercent val="0"/>
              <c:showBubbleSize val="0"/>
            </c:dLbl>
            <c:dLbl>
              <c:idx val="9"/>
              <c:tx>
                <c:rich>
                  <a:bodyPr/>
                  <a:lstStyle/>
                  <a:p>
                    <a:r>
                      <a:t>12.37</a:t>
                    </a:r>
                  </a:p>
                </c:rich>
              </c:tx>
              <c:showLegendKey val="0"/>
              <c:showVal val="1"/>
              <c:showCatName val="0"/>
              <c:showSerName val="0"/>
              <c:showPercent val="0"/>
              <c:showBubbleSize val="0"/>
            </c:dLbl>
            <c:dLbl>
              <c:idx val="10"/>
              <c:tx>
                <c:rich>
                  <a:bodyPr/>
                  <a:lstStyle/>
                  <a:p>
                    <a:r>
                      <a:t>16.3</a:t>
                    </a:r>
                  </a:p>
                </c:rich>
              </c:tx>
              <c:showLegendKey val="0"/>
              <c:showVal val="1"/>
              <c:showCatName val="0"/>
              <c:showSerName val="0"/>
              <c:showPercent val="0"/>
              <c:showBubbleSize val="0"/>
            </c:dLbl>
            <c:dLbl>
              <c:idx val="11"/>
              <c:tx>
                <c:rich>
                  <a:bodyPr/>
                  <a:lstStyle/>
                  <a:p>
                    <a:r>
                      <a:t>18.77</a:t>
                    </a:r>
                  </a:p>
                </c:rich>
              </c:tx>
              <c:showLegendKey val="0"/>
              <c:showVal val="1"/>
              <c:showCatName val="0"/>
              <c:showSerName val="0"/>
              <c:showPercent val="0"/>
              <c:showBubbleSize val="0"/>
            </c:dLbl>
            <c:dLbl>
              <c:idx val="12"/>
              <c:tx>
                <c:rich>
                  <a:bodyPr/>
                  <a:lstStyle/>
                  <a:p>
                    <a:r>
                      <a:t>10.63</a:t>
                    </a:r>
                  </a:p>
                </c:rich>
              </c:tx>
              <c:showLegendKey val="0"/>
              <c:showVal val="1"/>
              <c:showCatName val="0"/>
              <c:showSerName val="0"/>
              <c:showPercent val="0"/>
              <c:showBubbleSize val="0"/>
            </c:dLbl>
            <c:dLbl>
              <c:idx val="13"/>
              <c:tx>
                <c:rich>
                  <a:bodyPr/>
                  <a:lstStyle/>
                  <a:p>
                    <a:r>
                      <a:t>12.12</a:t>
                    </a:r>
                  </a:p>
                </c:rich>
              </c:tx>
              <c:showLegendKey val="0"/>
              <c:showVal val="1"/>
              <c:showCatName val="0"/>
              <c:showSerName val="0"/>
              <c:showPercent val="0"/>
              <c:showBubbleSize val="0"/>
            </c:dLbl>
            <c:dLbl>
              <c:idx val="14"/>
              <c:tx>
                <c:rich>
                  <a:bodyPr/>
                  <a:lstStyle/>
                  <a:p>
                    <a:r>
                      <a:t>9.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HYDRO 5 SENSITIVE 5 BLADE RAZOR SENSITIVE 3CT</c:v>
                </c:pt>
                <c:pt idx="1">
                  <c:v>HYDRO 5 DRY SKIN 5 BLADE RAZOR DRY 3CT</c:v>
                </c:pt>
                <c:pt idx="2">
                  <c:v>HYDRO 5 SENSITIVE 5 BLADE RAZOR SENSITIVE 17CT</c:v>
                </c:pt>
                <c:pt idx="3">
                  <c:v>SCHICK QUATTRO FOR MEN 4 BLADE RAZOR NORMAL 4CT</c:v>
                </c:pt>
                <c:pt idx="4">
                  <c:v>SCHICK HYDRO 3 SENSITIVE 3 BLADE RAZOR SENSITIVE 4CT</c:v>
                </c:pt>
                <c:pt idx="5">
                  <c:v>GILLETTE FUSION 5 5 BLADE RAZOR NORMAL 2CT</c:v>
                </c:pt>
                <c:pt idx="6">
                  <c:v>GILLETTE FUSION 5 5 BLADE RAZOR NORMAL 5CT</c:v>
                </c:pt>
                <c:pt idx="7">
                  <c:v>GILLETTE MACH 3 3 BLADE RAZOR NORMAL 6CT</c:v>
                </c:pt>
                <c:pt idx="8">
                  <c:v>GILLETTE MACH 3 3 BLADE RAZOR NORMAL 2CT</c:v>
                </c:pt>
                <c:pt idx="9">
                  <c:v>GILLETTE FUSION 5 5 BLADE RAZOR NORMAL 1CT</c:v>
                </c:pt>
                <c:pt idx="10">
                  <c:v>HARRY'S ORANGE 5 BLADE RAZOR NORMAL 5CT</c:v>
                </c:pt>
                <c:pt idx="11">
                  <c:v>HARRY'S SILVER 5 BLADE RAZOR NORMAL 5CT</c:v>
                </c:pt>
                <c:pt idx="12">
                  <c:v>HARRY'S NAVY BLUE 5 BLADE RAZOR NORMAL 2CT</c:v>
                </c:pt>
                <c:pt idx="13">
                  <c:v>HARRY'S SILVER 5 BLADE RAZOR NORMAL 2CT</c:v>
                </c:pt>
                <c:pt idx="14">
                  <c:v>HARRY'S SURF BLUE 5 BLADE RAZOR NORMAL 2CT</c:v>
                </c:pt>
              </c:strCache>
            </c:strRef>
          </c:cat>
          <c:val>
            <c:numRef>
              <c:f>Sheet1!$B$2:$B$16</c:f>
              <c:numCache>
                <c:formatCode>General</c:formatCode>
                <c:ptCount val="15"/>
                <c:pt idx="0">
                  <c:v>10.59</c:v>
                </c:pt>
                <c:pt idx="1">
                  <c:v>11.67</c:v>
                </c:pt>
                <c:pt idx="2">
                  <c:v>38.77</c:v>
                </c:pt>
                <c:pt idx="3">
                  <c:v>12.0</c:v>
                </c:pt>
                <c:pt idx="4">
                  <c:v>12.71</c:v>
                </c:pt>
                <c:pt idx="5">
                  <c:v>13.7</c:v>
                </c:pt>
                <c:pt idx="6">
                  <c:v>24.45</c:v>
                </c:pt>
                <c:pt idx="7">
                  <c:v>21.35</c:v>
                </c:pt>
                <c:pt idx="8">
                  <c:v>10.38</c:v>
                </c:pt>
                <c:pt idx="9">
                  <c:v>12.37</c:v>
                </c:pt>
                <c:pt idx="10">
                  <c:v>16.3</c:v>
                </c:pt>
                <c:pt idx="11">
                  <c:v>18.77</c:v>
                </c:pt>
                <c:pt idx="12">
                  <c:v>10.63</c:v>
                </c:pt>
                <c:pt idx="13">
                  <c:v>12.12</c:v>
                </c:pt>
                <c:pt idx="14">
                  <c:v>9.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8.46</a:t>
                    </a:r>
                  </a:p>
                </c:rich>
              </c:tx>
              <c:showLegendKey val="0"/>
              <c:showVal val="1"/>
              <c:showCatName val="0"/>
              <c:showSerName val="0"/>
              <c:showPercent val="0"/>
              <c:showBubbleSize val="0"/>
            </c:dLbl>
            <c:dLbl>
              <c:idx val="1"/>
              <c:tx>
                <c:rich>
                  <a:bodyPr/>
                  <a:lstStyle/>
                  <a:p>
                    <a:r>
                      <a:t>13.7</a:t>
                    </a:r>
                  </a:p>
                </c:rich>
              </c:tx>
              <c:showLegendKey val="0"/>
              <c:showVal val="1"/>
              <c:showCatName val="0"/>
              <c:showSerName val="0"/>
              <c:showPercent val="0"/>
              <c:showBubbleSize val="0"/>
            </c:dLbl>
            <c:dLbl>
              <c:idx val="2"/>
              <c:tx>
                <c:rich>
                  <a:bodyPr/>
                  <a:lstStyle/>
                  <a:p>
                    <a:r>
                      <a:t>24.45</a:t>
                    </a:r>
                  </a:p>
                </c:rich>
              </c:tx>
              <c:showLegendKey val="0"/>
              <c:showVal val="1"/>
              <c:showCatName val="0"/>
              <c:showSerName val="0"/>
              <c:showPercent val="0"/>
              <c:showBubbleSize val="0"/>
            </c:dLbl>
            <c:dLbl>
              <c:idx val="3"/>
              <c:tx>
                <c:rich>
                  <a:bodyPr/>
                  <a:lstStyle/>
                  <a:p>
                    <a:r>
                      <a:t>21.35</a:t>
                    </a:r>
                  </a:p>
                </c:rich>
              </c:tx>
              <c:showLegendKey val="0"/>
              <c:showVal val="1"/>
              <c:showCatName val="0"/>
              <c:showSerName val="0"/>
              <c:showPercent val="0"/>
              <c:showBubbleSize val="0"/>
            </c:dLbl>
            <c:dLbl>
              <c:idx val="4"/>
              <c:tx>
                <c:rich>
                  <a:bodyPr/>
                  <a:lstStyle/>
                  <a:p>
                    <a:r>
                      <a:t>10.38</a:t>
                    </a:r>
                  </a:p>
                </c:rich>
              </c:tx>
              <c:showLegendKey val="0"/>
              <c:showVal val="1"/>
              <c:showCatName val="0"/>
              <c:showSerName val="0"/>
              <c:showPercent val="0"/>
              <c:showBubbleSize val="0"/>
            </c:dLbl>
            <c:dLbl>
              <c:idx val="5"/>
              <c:tx>
                <c:rich>
                  <a:bodyPr/>
                  <a:lstStyle/>
                  <a:p>
                    <a:r>
                      <a:t>12.37</a:t>
                    </a:r>
                  </a:p>
                </c:rich>
              </c:tx>
              <c:showLegendKey val="0"/>
              <c:showVal val="1"/>
              <c:showCatName val="0"/>
              <c:showSerName val="0"/>
              <c:showPercent val="0"/>
              <c:showBubbleSize val="0"/>
            </c:dLbl>
            <c:dLbl>
              <c:idx val="6"/>
              <c:tx>
                <c:rich>
                  <a:bodyPr/>
                  <a:lstStyle/>
                  <a:p>
                    <a:r>
                      <a:t>16.3</a:t>
                    </a:r>
                  </a:p>
                </c:rich>
              </c:tx>
              <c:showLegendKey val="0"/>
              <c:showVal val="1"/>
              <c:showCatName val="0"/>
              <c:showSerName val="0"/>
              <c:showPercent val="0"/>
              <c:showBubbleSize val="0"/>
            </c:dLbl>
            <c:dLbl>
              <c:idx val="7"/>
              <c:tx>
                <c:rich>
                  <a:bodyPr/>
                  <a:lstStyle/>
                  <a:p>
                    <a:r>
                      <a:t>18.77</a:t>
                    </a:r>
                  </a:p>
                </c:rich>
              </c:tx>
              <c:showLegendKey val="0"/>
              <c:showVal val="1"/>
              <c:showCatName val="0"/>
              <c:showSerName val="0"/>
              <c:showPercent val="0"/>
              <c:showBubbleSize val="0"/>
            </c:dLbl>
            <c:dLbl>
              <c:idx val="8"/>
              <c:tx>
                <c:rich>
                  <a:bodyPr/>
                  <a:lstStyle/>
                  <a:p>
                    <a:r>
                      <a:t>10.63</a:t>
                    </a:r>
                  </a:p>
                </c:rich>
              </c:tx>
              <c:showLegendKey val="0"/>
              <c:showVal val="1"/>
              <c:showCatName val="0"/>
              <c:showSerName val="0"/>
              <c:showPercent val="0"/>
              <c:showBubbleSize val="0"/>
            </c:dLbl>
            <c:dLbl>
              <c:idx val="9"/>
              <c:tx>
                <c:rich>
                  <a:bodyPr/>
                  <a:lstStyle/>
                  <a:p>
                    <a:r>
                      <a:t>12.12</a:t>
                    </a:r>
                  </a:p>
                </c:rich>
              </c:tx>
              <c:showLegendKey val="0"/>
              <c:showVal val="1"/>
              <c:showCatName val="0"/>
              <c:showSerName val="0"/>
              <c:showPercent val="0"/>
              <c:showBubbleSize val="0"/>
            </c:dLbl>
            <c:dLbl>
              <c:idx val="10"/>
              <c:tx>
                <c:rich>
                  <a:bodyPr/>
                  <a:lstStyle/>
                  <a:p>
                    <a:r>
                      <a:t>9.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EQUATE EASY FIT 5 5 BLADE RAZOR NORMAL 2CT</c:v>
                </c:pt>
                <c:pt idx="1">
                  <c:v>GILLETTE FUSION 5 5 BLADE RAZOR NORMAL 2CT</c:v>
                </c:pt>
                <c:pt idx="2">
                  <c:v>GILLETTE FUSION 5 5 BLADE RAZOR NORMAL 5CT</c:v>
                </c:pt>
                <c:pt idx="3">
                  <c:v>GILLETTE MACH 3 3 BLADE RAZOR NORMAL 6CT</c:v>
                </c:pt>
                <c:pt idx="4">
                  <c:v>GILLETTE MACH 3 3 BLADE RAZOR NORMAL 2CT</c:v>
                </c:pt>
                <c:pt idx="5">
                  <c:v>GILLETTE FUSION 5 5 BLADE RAZOR NORMAL 1CT</c:v>
                </c:pt>
                <c:pt idx="6">
                  <c:v>HARRY'S ORANGE 5 BLADE RAZOR NORMAL 5CT</c:v>
                </c:pt>
                <c:pt idx="7">
                  <c:v>HARRY'S SILVER 5 BLADE RAZOR NORMAL 5CT</c:v>
                </c:pt>
                <c:pt idx="8">
                  <c:v>HARRY'S NAVY BLUE 5 BLADE RAZOR NORMAL 2CT</c:v>
                </c:pt>
                <c:pt idx="9">
                  <c:v>HARRY'S SILVER 5 BLADE RAZOR NORMAL 2CT</c:v>
                </c:pt>
                <c:pt idx="10">
                  <c:v>HARRY'S SURF BLUE 5 BLADE RAZOR NORMAL 2CT</c:v>
                </c:pt>
              </c:strCache>
            </c:strRef>
          </c:cat>
          <c:val>
            <c:numRef>
              <c:f>Sheet1!$B$2:$B$12</c:f>
              <c:numCache>
                <c:formatCode>General</c:formatCode>
                <c:ptCount val="11"/>
                <c:pt idx="0">
                  <c:v>8.46</c:v>
                </c:pt>
                <c:pt idx="1">
                  <c:v>13.7</c:v>
                </c:pt>
                <c:pt idx="2">
                  <c:v>24.45</c:v>
                </c:pt>
                <c:pt idx="3">
                  <c:v>21.35</c:v>
                </c:pt>
                <c:pt idx="4">
                  <c:v>10.38</c:v>
                </c:pt>
                <c:pt idx="5">
                  <c:v>12.37</c:v>
                </c:pt>
                <c:pt idx="6">
                  <c:v>16.3</c:v>
                </c:pt>
                <c:pt idx="7">
                  <c:v>18.77</c:v>
                </c:pt>
                <c:pt idx="8">
                  <c:v>10.63</c:v>
                </c:pt>
                <c:pt idx="9">
                  <c:v>12.12</c:v>
                </c:pt>
                <c:pt idx="10">
                  <c:v>9.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5.52</a:t>
                    </a:r>
                  </a:p>
                </c:rich>
              </c:tx>
              <c:showLegendKey val="0"/>
              <c:showVal val="1"/>
              <c:showCatName val="0"/>
              <c:showSerName val="0"/>
              <c:showPercent val="0"/>
              <c:showBubbleSize val="0"/>
            </c:dLbl>
            <c:dLbl>
              <c:idx val="1"/>
              <c:tx>
                <c:rich>
                  <a:bodyPr/>
                  <a:lstStyle/>
                  <a:p>
                    <a:r>
                      <a:t>16.73</a:t>
                    </a:r>
                  </a:p>
                </c:rich>
              </c:tx>
              <c:showLegendKey val="0"/>
              <c:showVal val="1"/>
              <c:showCatName val="0"/>
              <c:showSerName val="0"/>
              <c:showPercent val="0"/>
              <c:showBubbleSize val="0"/>
            </c:dLbl>
            <c:dLbl>
              <c:idx val="2"/>
              <c:tx>
                <c:rich>
                  <a:bodyPr/>
                  <a:lstStyle/>
                  <a:p>
                    <a:r>
                      <a:t>10.6</a:t>
                    </a:r>
                  </a:p>
                </c:rich>
              </c:tx>
              <c:showLegendKey val="0"/>
              <c:showVal val="1"/>
              <c:showCatName val="0"/>
              <c:showSerName val="0"/>
              <c:showPercent val="0"/>
              <c:showBubbleSize val="0"/>
            </c:dLbl>
            <c:dLbl>
              <c:idx val="3"/>
              <c:tx>
                <c:rich>
                  <a:bodyPr/>
                  <a:lstStyle/>
                  <a:p>
                    <a:r>
                      <a:t>13.7</a:t>
                    </a:r>
                  </a:p>
                </c:rich>
              </c:tx>
              <c:showLegendKey val="0"/>
              <c:showVal val="1"/>
              <c:showCatName val="0"/>
              <c:showSerName val="0"/>
              <c:showPercent val="0"/>
              <c:showBubbleSize val="0"/>
            </c:dLbl>
            <c:dLbl>
              <c:idx val="4"/>
              <c:tx>
                <c:rich>
                  <a:bodyPr/>
                  <a:lstStyle/>
                  <a:p>
                    <a:r>
                      <a:t>24.45</a:t>
                    </a:r>
                  </a:p>
                </c:rich>
              </c:tx>
              <c:showLegendKey val="0"/>
              <c:showVal val="1"/>
              <c:showCatName val="0"/>
              <c:showSerName val="0"/>
              <c:showPercent val="0"/>
              <c:showBubbleSize val="0"/>
            </c:dLbl>
            <c:dLbl>
              <c:idx val="5"/>
              <c:tx>
                <c:rich>
                  <a:bodyPr/>
                  <a:lstStyle/>
                  <a:p>
                    <a:r>
                      <a:t>21.35</a:t>
                    </a:r>
                  </a:p>
                </c:rich>
              </c:tx>
              <c:showLegendKey val="0"/>
              <c:showVal val="1"/>
              <c:showCatName val="0"/>
              <c:showSerName val="0"/>
              <c:showPercent val="0"/>
              <c:showBubbleSize val="0"/>
            </c:dLbl>
            <c:dLbl>
              <c:idx val="6"/>
              <c:tx>
                <c:rich>
                  <a:bodyPr/>
                  <a:lstStyle/>
                  <a:p>
                    <a:r>
                      <a:t>10.38</a:t>
                    </a:r>
                  </a:p>
                </c:rich>
              </c:tx>
              <c:showLegendKey val="0"/>
              <c:showVal val="1"/>
              <c:showCatName val="0"/>
              <c:showSerName val="0"/>
              <c:showPercent val="0"/>
              <c:showBubbleSize val="0"/>
            </c:dLbl>
            <c:dLbl>
              <c:idx val="7"/>
              <c:tx>
                <c:rich>
                  <a:bodyPr/>
                  <a:lstStyle/>
                  <a:p>
                    <a:r>
                      <a:t>12.37</a:t>
                    </a:r>
                  </a:p>
                </c:rich>
              </c:tx>
              <c:showLegendKey val="0"/>
              <c:showVal val="1"/>
              <c:showCatName val="0"/>
              <c:showSerName val="0"/>
              <c:showPercent val="0"/>
              <c:showBubbleSize val="0"/>
            </c:dLbl>
            <c:dLbl>
              <c:idx val="8"/>
              <c:tx>
                <c:rich>
                  <a:bodyPr/>
                  <a:lstStyle/>
                  <a:p>
                    <a:r>
                      <a:t>16.3</a:t>
                    </a:r>
                  </a:p>
                </c:rich>
              </c:tx>
              <c:showLegendKey val="0"/>
              <c:showVal val="1"/>
              <c:showCatName val="0"/>
              <c:showSerName val="0"/>
              <c:showPercent val="0"/>
              <c:showBubbleSize val="0"/>
            </c:dLbl>
            <c:dLbl>
              <c:idx val="9"/>
              <c:tx>
                <c:rich>
                  <a:bodyPr/>
                  <a:lstStyle/>
                  <a:p>
                    <a:r>
                      <a:t>18.77</a:t>
                    </a:r>
                  </a:p>
                </c:rich>
              </c:tx>
              <c:showLegendKey val="0"/>
              <c:showVal val="1"/>
              <c:showCatName val="0"/>
              <c:showSerName val="0"/>
              <c:showPercent val="0"/>
              <c:showBubbleSize val="0"/>
            </c:dLbl>
            <c:dLbl>
              <c:idx val="10"/>
              <c:tx>
                <c:rich>
                  <a:bodyPr/>
                  <a:lstStyle/>
                  <a:p>
                    <a:r>
                      <a:t>10.63</a:t>
                    </a:r>
                  </a:p>
                </c:rich>
              </c:tx>
              <c:showLegendKey val="0"/>
              <c:showVal val="1"/>
              <c:showCatName val="0"/>
              <c:showSerName val="0"/>
              <c:showPercent val="0"/>
              <c:showBubbleSize val="0"/>
            </c:dLbl>
            <c:dLbl>
              <c:idx val="11"/>
              <c:tx>
                <c:rich>
                  <a:bodyPr/>
                  <a:lstStyle/>
                  <a:p>
                    <a:r>
                      <a:t>12.12</a:t>
                    </a:r>
                  </a:p>
                </c:rich>
              </c:tx>
              <c:showLegendKey val="0"/>
              <c:showVal val="1"/>
              <c:showCatName val="0"/>
              <c:showSerName val="0"/>
              <c:showPercent val="0"/>
              <c:showBubbleSize val="0"/>
            </c:dLbl>
            <c:dLbl>
              <c:idx val="12"/>
              <c:tx>
                <c:rich>
                  <a:bodyPr/>
                  <a:lstStyle/>
                  <a:p>
                    <a:r>
                      <a:t>9.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CREMO 5 BLADE RAZOR NORMAL 2CT</c:v>
                </c:pt>
                <c:pt idx="1">
                  <c:v>CREMO SILVER HOLIDAY GIFT PACK REM BLADES RAZOR 5CT</c:v>
                </c:pt>
                <c:pt idx="2">
                  <c:v>CREMO SILVER HOLIDAY GIFT PACK 5 BLADE RAZOR 5CT</c:v>
                </c:pt>
                <c:pt idx="3">
                  <c:v>GILLETTE FUSION 5 5 BLADE RAZOR NORMAL 2CT</c:v>
                </c:pt>
                <c:pt idx="4">
                  <c:v>GILLETTE FUSION 5 5 BLADE RAZOR NORMAL 5CT</c:v>
                </c:pt>
                <c:pt idx="5">
                  <c:v>GILLETTE MACH 3 3 BLADE RAZOR NORMAL 6CT</c:v>
                </c:pt>
                <c:pt idx="6">
                  <c:v>GILLETTE MACH 3 3 BLADE RAZOR NORMAL 2CT</c:v>
                </c:pt>
                <c:pt idx="7">
                  <c:v>GILLETTE FUSION 5 5 BLADE RAZOR NORMAL 1CT</c:v>
                </c:pt>
                <c:pt idx="8">
                  <c:v>HARRY'S ORANGE 5 BLADE RAZOR NORMAL 5CT</c:v>
                </c:pt>
                <c:pt idx="9">
                  <c:v>HARRY'S SILVER 5 BLADE RAZOR NORMAL 5CT</c:v>
                </c:pt>
                <c:pt idx="10">
                  <c:v>HARRY'S NAVY BLUE 5 BLADE RAZOR NORMAL 2CT</c:v>
                </c:pt>
                <c:pt idx="11">
                  <c:v>HARRY'S SILVER 5 BLADE RAZOR NORMAL 2CT</c:v>
                </c:pt>
                <c:pt idx="12">
                  <c:v>HARRY'S SURF BLUE 5 BLADE RAZOR NORMAL 2CT</c:v>
                </c:pt>
              </c:strCache>
            </c:strRef>
          </c:cat>
          <c:val>
            <c:numRef>
              <c:f>Sheet1!$B$2:$B$14</c:f>
              <c:numCache>
                <c:formatCode>General</c:formatCode>
                <c:ptCount val="13"/>
                <c:pt idx="0">
                  <c:v>15.52</c:v>
                </c:pt>
                <c:pt idx="1">
                  <c:v>16.73</c:v>
                </c:pt>
                <c:pt idx="2">
                  <c:v>10.6</c:v>
                </c:pt>
                <c:pt idx="3">
                  <c:v>13.7</c:v>
                </c:pt>
                <c:pt idx="4">
                  <c:v>24.45</c:v>
                </c:pt>
                <c:pt idx="5">
                  <c:v>21.35</c:v>
                </c:pt>
                <c:pt idx="6">
                  <c:v>10.38</c:v>
                </c:pt>
                <c:pt idx="7">
                  <c:v>12.37</c:v>
                </c:pt>
                <c:pt idx="8">
                  <c:v>16.3</c:v>
                </c:pt>
                <c:pt idx="9">
                  <c:v>18.77</c:v>
                </c:pt>
                <c:pt idx="10">
                  <c:v>10.63</c:v>
                </c:pt>
                <c:pt idx="11">
                  <c:v>12.12</c:v>
                </c:pt>
                <c:pt idx="12">
                  <c:v>9.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6</a:t>
                    </a:r>
                  </a:p>
                </c:rich>
              </c:tx>
              <c:showLegendKey val="0"/>
              <c:showVal val="1"/>
              <c:showCatName val="0"/>
              <c:showSerName val="0"/>
              <c:showPercent val="0"/>
              <c:showBubbleSize val="0"/>
            </c:dLbl>
            <c:dLbl>
              <c:idx val="1"/>
              <c:tx>
                <c:rich>
                  <a:bodyPr/>
                  <a:lstStyle/>
                  <a:p>
                    <a:r>
                      <a:t>9.99</a:t>
                    </a:r>
                  </a:p>
                </c:rich>
              </c:tx>
              <c:showLegendKey val="0"/>
              <c:showVal val="1"/>
              <c:showCatName val="0"/>
              <c:showSerName val="0"/>
              <c:showPercent val="0"/>
              <c:showBubbleSize val="0"/>
            </c:dLbl>
            <c:dLbl>
              <c:idx val="2"/>
              <c:tx>
                <c:rich>
                  <a:bodyPr/>
                  <a:lstStyle/>
                  <a:p>
                    <a:r>
                      <a:t>9.94</a:t>
                    </a:r>
                  </a:p>
                </c:rich>
              </c:tx>
              <c:showLegendKey val="0"/>
              <c:showVal val="1"/>
              <c:showCatName val="0"/>
              <c:showSerName val="0"/>
              <c:showPercent val="0"/>
              <c:showBubbleSize val="0"/>
            </c:dLbl>
            <c:dLbl>
              <c:idx val="3"/>
              <c:tx>
                <c:rich>
                  <a:bodyPr/>
                  <a:lstStyle/>
                  <a:p>
                    <a:r>
                      <a:t>23.89</a:t>
                    </a:r>
                  </a:p>
                </c:rich>
              </c:tx>
              <c:showLegendKey val="0"/>
              <c:showVal val="1"/>
              <c:showCatName val="0"/>
              <c:showSerName val="0"/>
              <c:showPercent val="0"/>
              <c:showBubbleSize val="0"/>
            </c:dLbl>
            <c:dLbl>
              <c:idx val="4"/>
              <c:tx>
                <c:rich>
                  <a:bodyPr/>
                  <a:lstStyle/>
                  <a:p>
                    <a:r>
                      <a:t>13.47</a:t>
                    </a:r>
                  </a:p>
                </c:rich>
              </c:tx>
              <c:showLegendKey val="0"/>
              <c:showVal val="1"/>
              <c:showCatName val="0"/>
              <c:showSerName val="0"/>
              <c:showPercent val="0"/>
              <c:showBubbleSize val="0"/>
            </c:dLbl>
            <c:dLbl>
              <c:idx val="5"/>
              <c:tx>
                <c:rich>
                  <a:bodyPr/>
                  <a:lstStyle/>
                  <a:p>
                    <a:r>
                      <a:t>20.81</a:t>
                    </a:r>
                  </a:p>
                </c:rich>
              </c:tx>
              <c:showLegendKey val="0"/>
              <c:showVal val="1"/>
              <c:showCatName val="0"/>
              <c:showSerName val="0"/>
              <c:showPercent val="0"/>
              <c:showBubbleSize val="0"/>
            </c:dLbl>
            <c:dLbl>
              <c:idx val="6"/>
              <c:tx>
                <c:rich>
                  <a:bodyPr/>
                  <a:lstStyle/>
                  <a:p>
                    <a:r>
                      <a:t>10.12</a:t>
                    </a:r>
                  </a:p>
                </c:rich>
              </c:tx>
              <c:showLegendKey val="0"/>
              <c:showVal val="1"/>
              <c:showCatName val="0"/>
              <c:showSerName val="0"/>
              <c:showPercent val="0"/>
              <c:showBubbleSize val="0"/>
            </c:dLbl>
            <c:dLbl>
              <c:idx val="7"/>
              <c:tx>
                <c:rich>
                  <a:bodyPr/>
                  <a:lstStyle/>
                  <a:p>
                    <a:r>
                      <a:t>29.18</a:t>
                    </a:r>
                  </a:p>
                </c:rich>
              </c:tx>
              <c:showLegendKey val="0"/>
              <c:showVal val="1"/>
              <c:showCatName val="0"/>
              <c:showSerName val="0"/>
              <c:showPercent val="0"/>
              <c:showBubbleSize val="0"/>
            </c:dLbl>
            <c:dLbl>
              <c:idx val="8"/>
              <c:tx>
                <c:rich>
                  <a:bodyPr/>
                  <a:lstStyle/>
                  <a:p>
                    <a:r>
                      <a:t>16.01</a:t>
                    </a:r>
                  </a:p>
                </c:rich>
              </c:tx>
              <c:showLegendKey val="0"/>
              <c:showVal val="1"/>
              <c:showCatName val="0"/>
              <c:showSerName val="0"/>
              <c:showPercent val="0"/>
              <c:showBubbleSize val="0"/>
            </c:dLbl>
            <c:dLbl>
              <c:idx val="9"/>
              <c:tx>
                <c:rich>
                  <a:bodyPr/>
                  <a:lstStyle/>
                  <a:p>
                    <a:r>
                      <a:t>9.99</a:t>
                    </a:r>
                  </a:p>
                </c:rich>
              </c:tx>
              <c:showLegendKey val="0"/>
              <c:showVal val="1"/>
              <c:showCatName val="0"/>
              <c:showSerName val="0"/>
              <c:showPercent val="0"/>
              <c:showBubbleSize val="0"/>
            </c:dLbl>
            <c:dLbl>
              <c:idx val="10"/>
              <c:tx>
                <c:rich>
                  <a:bodyPr/>
                  <a:lstStyle/>
                  <a:p>
                    <a:r>
                      <a:t>17.92</a:t>
                    </a:r>
                  </a:p>
                </c:rich>
              </c:tx>
              <c:showLegendKey val="0"/>
              <c:showVal val="1"/>
              <c:showCatName val="0"/>
              <c:showSerName val="0"/>
              <c:showPercent val="0"/>
              <c:showBubbleSize val="0"/>
            </c:dLbl>
            <c:dLbl>
              <c:idx val="11"/>
              <c:tx>
                <c:rich>
                  <a:bodyPr/>
                  <a:lstStyle/>
                  <a:p>
                    <a:r>
                      <a:t>11.97</a:t>
                    </a:r>
                  </a:p>
                </c:rich>
              </c:tx>
              <c:showLegendKey val="0"/>
              <c:showVal val="1"/>
              <c:showCatName val="0"/>
              <c:showSerName val="0"/>
              <c:showPercent val="0"/>
              <c:showBubbleSize val="0"/>
            </c:dLbl>
            <c:dLbl>
              <c:idx val="12"/>
              <c:tx>
                <c:rich>
                  <a:bodyPr/>
                  <a:lstStyle/>
                  <a:p>
                    <a:r>
                      <a:t>14.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HYDRO 5 SENSITIVE 5 BLADE RAZOR SENSITIVE 3CT</c:v>
                </c:pt>
                <c:pt idx="1">
                  <c:v>HYDRO 5 SENSITIVE GRAY HOLIDAY GIFT PACK 5 BLADE RAZOR SENSITIVE 3CT</c:v>
                </c:pt>
                <c:pt idx="2">
                  <c:v>SCHICK HYDRO 3 SENSITIVE 3 BLADE RAZOR SENSITIVE 4CT</c:v>
                </c:pt>
                <c:pt idx="3">
                  <c:v>GILLETTE FUSION 5 5 BLADE RAZOR NORMAL 5CT</c:v>
                </c:pt>
                <c:pt idx="4">
                  <c:v>GILLETTE FUSION 5 5 BLADE RAZOR NORMAL 2CT</c:v>
                </c:pt>
                <c:pt idx="5">
                  <c:v>GILLETTE MACH 3 3 BLADE RAZOR NORMAL 6CT</c:v>
                </c:pt>
                <c:pt idx="6">
                  <c:v>GILLETTE MACH 3 3 BLADE RAZOR NORMAL 2CT</c:v>
                </c:pt>
                <c:pt idx="7">
                  <c:v>GILLETTE FUSION 5 5 BLADE RAZOR NORMAL 7CT</c:v>
                </c:pt>
                <c:pt idx="8">
                  <c:v>HARRY'S ORANGE 5 BLADE RAZOR NORMAL 5CT</c:v>
                </c:pt>
                <c:pt idx="9">
                  <c:v>HARRY'S SURF BLUE 5 BLADE RAZOR NORMAL 2CT</c:v>
                </c:pt>
                <c:pt idx="10">
                  <c:v>HARRY'S SILVER 5 BLADE RAZOR NORMAL 5CT</c:v>
                </c:pt>
                <c:pt idx="11">
                  <c:v>HARRY'S SILVER 5 BLADE RAZOR NORMAL 2CT</c:v>
                </c:pt>
                <c:pt idx="12">
                  <c:v>HARRY'S CRAFT HANDLE SILVER 5 BLADE RAZOR NORMAL 2CT</c:v>
                </c:pt>
              </c:strCache>
            </c:strRef>
          </c:cat>
          <c:val>
            <c:numRef>
              <c:f>Sheet1!$B$2:$B$14</c:f>
              <c:numCache>
                <c:formatCode>General</c:formatCode>
                <c:ptCount val="13"/>
                <c:pt idx="0">
                  <c:v>9.96</c:v>
                </c:pt>
                <c:pt idx="1">
                  <c:v>9.99</c:v>
                </c:pt>
                <c:pt idx="2">
                  <c:v>9.94</c:v>
                </c:pt>
                <c:pt idx="3">
                  <c:v>23.89</c:v>
                </c:pt>
                <c:pt idx="4">
                  <c:v>13.47</c:v>
                </c:pt>
                <c:pt idx="5">
                  <c:v>20.81</c:v>
                </c:pt>
                <c:pt idx="6">
                  <c:v>10.12</c:v>
                </c:pt>
                <c:pt idx="7">
                  <c:v>29.18</c:v>
                </c:pt>
                <c:pt idx="8">
                  <c:v>16.01</c:v>
                </c:pt>
                <c:pt idx="9">
                  <c:v>9.99</c:v>
                </c:pt>
                <c:pt idx="10">
                  <c:v>17.92</c:v>
                </c:pt>
                <c:pt idx="11">
                  <c:v>11.97</c:v>
                </c:pt>
                <c:pt idx="12">
                  <c:v>14.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8.46</a:t>
                    </a:r>
                  </a:p>
                </c:rich>
              </c:tx>
              <c:showLegendKey val="0"/>
              <c:showVal val="1"/>
              <c:showCatName val="0"/>
              <c:showSerName val="0"/>
              <c:showPercent val="0"/>
              <c:showBubbleSize val="0"/>
            </c:dLbl>
            <c:dLbl>
              <c:idx val="1"/>
              <c:tx>
                <c:rich>
                  <a:bodyPr/>
                  <a:lstStyle/>
                  <a:p>
                    <a:r>
                      <a:t>23.89</a:t>
                    </a:r>
                  </a:p>
                </c:rich>
              </c:tx>
              <c:showLegendKey val="0"/>
              <c:showVal val="1"/>
              <c:showCatName val="0"/>
              <c:showSerName val="0"/>
              <c:showPercent val="0"/>
              <c:showBubbleSize val="0"/>
            </c:dLbl>
            <c:dLbl>
              <c:idx val="2"/>
              <c:tx>
                <c:rich>
                  <a:bodyPr/>
                  <a:lstStyle/>
                  <a:p>
                    <a:r>
                      <a:t>13.47</a:t>
                    </a:r>
                  </a:p>
                </c:rich>
              </c:tx>
              <c:showLegendKey val="0"/>
              <c:showVal val="1"/>
              <c:showCatName val="0"/>
              <c:showSerName val="0"/>
              <c:showPercent val="0"/>
              <c:showBubbleSize val="0"/>
            </c:dLbl>
            <c:dLbl>
              <c:idx val="3"/>
              <c:tx>
                <c:rich>
                  <a:bodyPr/>
                  <a:lstStyle/>
                  <a:p>
                    <a:r>
                      <a:t>20.81</a:t>
                    </a:r>
                  </a:p>
                </c:rich>
              </c:tx>
              <c:showLegendKey val="0"/>
              <c:showVal val="1"/>
              <c:showCatName val="0"/>
              <c:showSerName val="0"/>
              <c:showPercent val="0"/>
              <c:showBubbleSize val="0"/>
            </c:dLbl>
            <c:dLbl>
              <c:idx val="4"/>
              <c:tx>
                <c:rich>
                  <a:bodyPr/>
                  <a:lstStyle/>
                  <a:p>
                    <a:r>
                      <a:t>10.12</a:t>
                    </a:r>
                  </a:p>
                </c:rich>
              </c:tx>
              <c:showLegendKey val="0"/>
              <c:showVal val="1"/>
              <c:showCatName val="0"/>
              <c:showSerName val="0"/>
              <c:showPercent val="0"/>
              <c:showBubbleSize val="0"/>
            </c:dLbl>
            <c:dLbl>
              <c:idx val="5"/>
              <c:tx>
                <c:rich>
                  <a:bodyPr/>
                  <a:lstStyle/>
                  <a:p>
                    <a:r>
                      <a:t>29.18</a:t>
                    </a:r>
                  </a:p>
                </c:rich>
              </c:tx>
              <c:showLegendKey val="0"/>
              <c:showVal val="1"/>
              <c:showCatName val="0"/>
              <c:showSerName val="0"/>
              <c:showPercent val="0"/>
              <c:showBubbleSize val="0"/>
            </c:dLbl>
            <c:dLbl>
              <c:idx val="6"/>
              <c:tx>
                <c:rich>
                  <a:bodyPr/>
                  <a:lstStyle/>
                  <a:p>
                    <a:r>
                      <a:t>16.01</a:t>
                    </a:r>
                  </a:p>
                </c:rich>
              </c:tx>
              <c:showLegendKey val="0"/>
              <c:showVal val="1"/>
              <c:showCatName val="0"/>
              <c:showSerName val="0"/>
              <c:showPercent val="0"/>
              <c:showBubbleSize val="0"/>
            </c:dLbl>
            <c:dLbl>
              <c:idx val="7"/>
              <c:tx>
                <c:rich>
                  <a:bodyPr/>
                  <a:lstStyle/>
                  <a:p>
                    <a:r>
                      <a:t>9.99</a:t>
                    </a:r>
                  </a:p>
                </c:rich>
              </c:tx>
              <c:showLegendKey val="0"/>
              <c:showVal val="1"/>
              <c:showCatName val="0"/>
              <c:showSerName val="0"/>
              <c:showPercent val="0"/>
              <c:showBubbleSize val="0"/>
            </c:dLbl>
            <c:dLbl>
              <c:idx val="8"/>
              <c:tx>
                <c:rich>
                  <a:bodyPr/>
                  <a:lstStyle/>
                  <a:p>
                    <a:r>
                      <a:t>17.92</a:t>
                    </a:r>
                  </a:p>
                </c:rich>
              </c:tx>
              <c:showLegendKey val="0"/>
              <c:showVal val="1"/>
              <c:showCatName val="0"/>
              <c:showSerName val="0"/>
              <c:showPercent val="0"/>
              <c:showBubbleSize val="0"/>
            </c:dLbl>
            <c:dLbl>
              <c:idx val="9"/>
              <c:tx>
                <c:rich>
                  <a:bodyPr/>
                  <a:lstStyle/>
                  <a:p>
                    <a:r>
                      <a:t>11.97</a:t>
                    </a:r>
                  </a:p>
                </c:rich>
              </c:tx>
              <c:showLegendKey val="0"/>
              <c:showVal val="1"/>
              <c:showCatName val="0"/>
              <c:showSerName val="0"/>
              <c:showPercent val="0"/>
              <c:showBubbleSize val="0"/>
            </c:dLbl>
            <c:dLbl>
              <c:idx val="10"/>
              <c:tx>
                <c:rich>
                  <a:bodyPr/>
                  <a:lstStyle/>
                  <a:p>
                    <a:r>
                      <a:t>14.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EQUATE EASY FIT 5 5 BLADE RAZOR NORMAL 2CT</c:v>
                </c:pt>
                <c:pt idx="1">
                  <c:v>GILLETTE FUSION 5 5 BLADE RAZOR NORMAL 5CT</c:v>
                </c:pt>
                <c:pt idx="2">
                  <c:v>GILLETTE FUSION 5 5 BLADE RAZOR NORMAL 2CT</c:v>
                </c:pt>
                <c:pt idx="3">
                  <c:v>GILLETTE MACH 3 3 BLADE RAZOR NORMAL 6CT</c:v>
                </c:pt>
                <c:pt idx="4">
                  <c:v>GILLETTE MACH 3 3 BLADE RAZOR NORMAL 2CT</c:v>
                </c:pt>
                <c:pt idx="5">
                  <c:v>GILLETTE FUSION 5 5 BLADE RAZOR NORMAL 7CT</c:v>
                </c:pt>
                <c:pt idx="6">
                  <c:v>HARRY'S ORANGE 5 BLADE RAZOR NORMAL 5CT</c:v>
                </c:pt>
                <c:pt idx="7">
                  <c:v>HARRY'S SURF BLUE 5 BLADE RAZOR NORMAL 2CT</c:v>
                </c:pt>
                <c:pt idx="8">
                  <c:v>HARRY'S SILVER 5 BLADE RAZOR NORMAL 5CT</c:v>
                </c:pt>
                <c:pt idx="9">
                  <c:v>HARRY'S SILVER 5 BLADE RAZOR NORMAL 2CT</c:v>
                </c:pt>
                <c:pt idx="10">
                  <c:v>HARRY'S CRAFT HANDLE SILVER 5 BLADE RAZOR NORMAL 2CT</c:v>
                </c:pt>
              </c:strCache>
            </c:strRef>
          </c:cat>
          <c:val>
            <c:numRef>
              <c:f>Sheet1!$B$2:$B$12</c:f>
              <c:numCache>
                <c:formatCode>General</c:formatCode>
                <c:ptCount val="11"/>
                <c:pt idx="0">
                  <c:v>8.46</c:v>
                </c:pt>
                <c:pt idx="1">
                  <c:v>23.89</c:v>
                </c:pt>
                <c:pt idx="2">
                  <c:v>13.47</c:v>
                </c:pt>
                <c:pt idx="3">
                  <c:v>20.81</c:v>
                </c:pt>
                <c:pt idx="4">
                  <c:v>10.12</c:v>
                </c:pt>
                <c:pt idx="5">
                  <c:v>29.18</c:v>
                </c:pt>
                <c:pt idx="6">
                  <c:v>16.01</c:v>
                </c:pt>
                <c:pt idx="7">
                  <c:v>9.99</c:v>
                </c:pt>
                <c:pt idx="8">
                  <c:v>17.92</c:v>
                </c:pt>
                <c:pt idx="9">
                  <c:v>11.97</c:v>
                </c:pt>
                <c:pt idx="10">
                  <c:v>14.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6.85</a:t>
                    </a:r>
                  </a:p>
                </c:rich>
              </c:tx>
              <c:showLegendKey val="0"/>
              <c:showVal val="1"/>
              <c:showCatName val="0"/>
              <c:showSerName val="0"/>
              <c:showPercent val="0"/>
              <c:showBubbleSize val="0"/>
            </c:dLbl>
            <c:dLbl>
              <c:idx val="1"/>
              <c:tx>
                <c:rich>
                  <a:bodyPr/>
                  <a:lstStyle/>
                  <a:p>
                    <a:r>
                      <a:t>23.89</a:t>
                    </a:r>
                  </a:p>
                </c:rich>
              </c:tx>
              <c:showLegendKey val="0"/>
              <c:showVal val="1"/>
              <c:showCatName val="0"/>
              <c:showSerName val="0"/>
              <c:showPercent val="0"/>
              <c:showBubbleSize val="0"/>
            </c:dLbl>
            <c:dLbl>
              <c:idx val="2"/>
              <c:tx>
                <c:rich>
                  <a:bodyPr/>
                  <a:lstStyle/>
                  <a:p>
                    <a:r>
                      <a:t>13.47</a:t>
                    </a:r>
                  </a:p>
                </c:rich>
              </c:tx>
              <c:showLegendKey val="0"/>
              <c:showVal val="1"/>
              <c:showCatName val="0"/>
              <c:showSerName val="0"/>
              <c:showPercent val="0"/>
              <c:showBubbleSize val="0"/>
            </c:dLbl>
            <c:dLbl>
              <c:idx val="3"/>
              <c:tx>
                <c:rich>
                  <a:bodyPr/>
                  <a:lstStyle/>
                  <a:p>
                    <a:r>
                      <a:t>20.81</a:t>
                    </a:r>
                  </a:p>
                </c:rich>
              </c:tx>
              <c:showLegendKey val="0"/>
              <c:showVal val="1"/>
              <c:showCatName val="0"/>
              <c:showSerName val="0"/>
              <c:showPercent val="0"/>
              <c:showBubbleSize val="0"/>
            </c:dLbl>
            <c:dLbl>
              <c:idx val="4"/>
              <c:tx>
                <c:rich>
                  <a:bodyPr/>
                  <a:lstStyle/>
                  <a:p>
                    <a:r>
                      <a:t>10.12</a:t>
                    </a:r>
                  </a:p>
                </c:rich>
              </c:tx>
              <c:showLegendKey val="0"/>
              <c:showVal val="1"/>
              <c:showCatName val="0"/>
              <c:showSerName val="0"/>
              <c:showPercent val="0"/>
              <c:showBubbleSize val="0"/>
            </c:dLbl>
            <c:dLbl>
              <c:idx val="5"/>
              <c:tx>
                <c:rich>
                  <a:bodyPr/>
                  <a:lstStyle/>
                  <a:p>
                    <a:r>
                      <a:t>29.18</a:t>
                    </a:r>
                  </a:p>
                </c:rich>
              </c:tx>
              <c:showLegendKey val="0"/>
              <c:showVal val="1"/>
              <c:showCatName val="0"/>
              <c:showSerName val="0"/>
              <c:showPercent val="0"/>
              <c:showBubbleSize val="0"/>
            </c:dLbl>
            <c:dLbl>
              <c:idx val="6"/>
              <c:tx>
                <c:rich>
                  <a:bodyPr/>
                  <a:lstStyle/>
                  <a:p>
                    <a:r>
                      <a:t>16.01</a:t>
                    </a:r>
                  </a:p>
                </c:rich>
              </c:tx>
              <c:showLegendKey val="0"/>
              <c:showVal val="1"/>
              <c:showCatName val="0"/>
              <c:showSerName val="0"/>
              <c:showPercent val="0"/>
              <c:showBubbleSize val="0"/>
            </c:dLbl>
            <c:dLbl>
              <c:idx val="7"/>
              <c:tx>
                <c:rich>
                  <a:bodyPr/>
                  <a:lstStyle/>
                  <a:p>
                    <a:r>
                      <a:t>9.99</a:t>
                    </a:r>
                  </a:p>
                </c:rich>
              </c:tx>
              <c:showLegendKey val="0"/>
              <c:showVal val="1"/>
              <c:showCatName val="0"/>
              <c:showSerName val="0"/>
              <c:showPercent val="0"/>
              <c:showBubbleSize val="0"/>
            </c:dLbl>
            <c:dLbl>
              <c:idx val="8"/>
              <c:tx>
                <c:rich>
                  <a:bodyPr/>
                  <a:lstStyle/>
                  <a:p>
                    <a:r>
                      <a:t>17.92</a:t>
                    </a:r>
                  </a:p>
                </c:rich>
              </c:tx>
              <c:showLegendKey val="0"/>
              <c:showVal val="1"/>
              <c:showCatName val="0"/>
              <c:showSerName val="0"/>
              <c:showPercent val="0"/>
              <c:showBubbleSize val="0"/>
            </c:dLbl>
            <c:dLbl>
              <c:idx val="9"/>
              <c:tx>
                <c:rich>
                  <a:bodyPr/>
                  <a:lstStyle/>
                  <a:p>
                    <a:r>
                      <a:t>11.97</a:t>
                    </a:r>
                  </a:p>
                </c:rich>
              </c:tx>
              <c:showLegendKey val="0"/>
              <c:showVal val="1"/>
              <c:showCatName val="0"/>
              <c:showSerName val="0"/>
              <c:showPercent val="0"/>
              <c:showBubbleSize val="0"/>
            </c:dLbl>
            <c:dLbl>
              <c:idx val="10"/>
              <c:tx>
                <c:rich>
                  <a:bodyPr/>
                  <a:lstStyle/>
                  <a:p>
                    <a:r>
                      <a:t>14.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REMO 5 BLADE RAZOR NORMAL 2CT</c:v>
                </c:pt>
                <c:pt idx="1">
                  <c:v>GILLETTE FUSION 5 5 BLADE RAZOR NORMAL 5CT</c:v>
                </c:pt>
                <c:pt idx="2">
                  <c:v>GILLETTE FUSION 5 5 BLADE RAZOR NORMAL 2CT</c:v>
                </c:pt>
                <c:pt idx="3">
                  <c:v>GILLETTE MACH 3 3 BLADE RAZOR NORMAL 6CT</c:v>
                </c:pt>
                <c:pt idx="4">
                  <c:v>GILLETTE MACH 3 3 BLADE RAZOR NORMAL 2CT</c:v>
                </c:pt>
                <c:pt idx="5">
                  <c:v>GILLETTE FUSION 5 5 BLADE RAZOR NORMAL 7CT</c:v>
                </c:pt>
                <c:pt idx="6">
                  <c:v>HARRY'S ORANGE 5 BLADE RAZOR NORMAL 5CT</c:v>
                </c:pt>
                <c:pt idx="7">
                  <c:v>HARRY'S SURF BLUE 5 BLADE RAZOR NORMAL 2CT</c:v>
                </c:pt>
                <c:pt idx="8">
                  <c:v>HARRY'S SILVER 5 BLADE RAZOR NORMAL 5CT</c:v>
                </c:pt>
                <c:pt idx="9">
                  <c:v>HARRY'S SILVER 5 BLADE RAZOR NORMAL 2CT</c:v>
                </c:pt>
                <c:pt idx="10">
                  <c:v>HARRY'S CRAFT HANDLE SILVER 5 BLADE RAZOR NORMAL 2CT</c:v>
                </c:pt>
              </c:strCache>
            </c:strRef>
          </c:cat>
          <c:val>
            <c:numRef>
              <c:f>Sheet1!$B$2:$B$12</c:f>
              <c:numCache>
                <c:formatCode>General</c:formatCode>
                <c:ptCount val="11"/>
                <c:pt idx="0">
                  <c:v>16.85</c:v>
                </c:pt>
                <c:pt idx="1">
                  <c:v>23.89</c:v>
                </c:pt>
                <c:pt idx="2">
                  <c:v>13.47</c:v>
                </c:pt>
                <c:pt idx="3">
                  <c:v>20.81</c:v>
                </c:pt>
                <c:pt idx="4">
                  <c:v>10.12</c:v>
                </c:pt>
                <c:pt idx="5">
                  <c:v>29.18</c:v>
                </c:pt>
                <c:pt idx="6">
                  <c:v>16.01</c:v>
                </c:pt>
                <c:pt idx="7">
                  <c:v>9.99</c:v>
                </c:pt>
                <c:pt idx="8">
                  <c:v>17.92</c:v>
                </c:pt>
                <c:pt idx="9">
                  <c:v>11.97</c:v>
                </c:pt>
                <c:pt idx="10">
                  <c:v>14.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5.22</a:t>
                    </a:r>
                  </a:p>
                </c:rich>
              </c:tx>
              <c:showLegendKey val="0"/>
              <c:showVal val="1"/>
              <c:showCatName val="0"/>
              <c:showSerName val="0"/>
              <c:showPercent val="0"/>
              <c:showBubbleSize val="0"/>
            </c:dLbl>
            <c:dLbl>
              <c:idx val="1"/>
              <c:tx>
                <c:rich>
                  <a:bodyPr/>
                  <a:lstStyle/>
                  <a:p>
                    <a:r>
                      <a:t>26.91</a:t>
                    </a:r>
                  </a:p>
                </c:rich>
              </c:tx>
              <c:showLegendKey val="0"/>
              <c:showVal val="1"/>
              <c:showCatName val="0"/>
              <c:showSerName val="0"/>
              <c:showPercent val="0"/>
              <c:showBubbleSize val="0"/>
            </c:dLbl>
            <c:dLbl>
              <c:idx val="2"/>
              <c:tx>
                <c:rich>
                  <a:bodyPr/>
                  <a:lstStyle/>
                  <a:p>
                    <a:r>
                      <a:t>16.88</a:t>
                    </a:r>
                  </a:p>
                </c:rich>
              </c:tx>
              <c:showLegendKey val="0"/>
              <c:showVal val="1"/>
              <c:showCatName val="0"/>
              <c:showSerName val="0"/>
              <c:showPercent val="0"/>
              <c:showBubbleSize val="0"/>
            </c:dLbl>
            <c:dLbl>
              <c:idx val="3"/>
              <c:tx>
                <c:rich>
                  <a:bodyPr/>
                  <a:lstStyle/>
                  <a:p>
                    <a:r>
                      <a:t>13.58</a:t>
                    </a:r>
                  </a:p>
                </c:rich>
              </c:tx>
              <c:showLegendKey val="0"/>
              <c:showVal val="1"/>
              <c:showCatName val="0"/>
              <c:showSerName val="0"/>
              <c:showPercent val="0"/>
              <c:showBubbleSize val="0"/>
            </c:dLbl>
            <c:dLbl>
              <c:idx val="4"/>
              <c:tx>
                <c:rich>
                  <a:bodyPr/>
                  <a:lstStyle/>
                  <a:p>
                    <a:r>
                      <a:t>23.94</a:t>
                    </a:r>
                  </a:p>
                </c:rich>
              </c:tx>
              <c:showLegendKey val="0"/>
              <c:showVal val="1"/>
              <c:showCatName val="0"/>
              <c:showSerName val="0"/>
              <c:showPercent val="0"/>
              <c:showBubbleSize val="0"/>
            </c:dLbl>
            <c:dLbl>
              <c:idx val="5"/>
              <c:tx>
                <c:rich>
                  <a:bodyPr/>
                  <a:lstStyle/>
                  <a:p>
                    <a:r>
                      <a:t>19.45</a:t>
                    </a:r>
                  </a:p>
                </c:rich>
              </c:tx>
              <c:showLegendKey val="0"/>
              <c:showVal val="1"/>
              <c:showCatName val="0"/>
              <c:showSerName val="0"/>
              <c:showPercent val="0"/>
              <c:showBubbleSize val="0"/>
            </c:dLbl>
            <c:dLbl>
              <c:idx val="6"/>
              <c:tx>
                <c:rich>
                  <a:bodyPr/>
                  <a:lstStyle/>
                  <a:p>
                    <a:r>
                      <a:t>42.25</a:t>
                    </a:r>
                  </a:p>
                </c:rich>
              </c:tx>
              <c:showLegendKey val="0"/>
              <c:showVal val="1"/>
              <c:showCatName val="0"/>
              <c:showSerName val="0"/>
              <c:showPercent val="0"/>
              <c:showBubbleSize val="0"/>
            </c:dLbl>
            <c:dLbl>
              <c:idx val="7"/>
              <c:tx>
                <c:rich>
                  <a:bodyPr/>
                  <a:lstStyle/>
                  <a:p>
                    <a:r>
                      <a:t>13.06</a:t>
                    </a:r>
                  </a:p>
                </c:rich>
              </c:tx>
              <c:showLegendKey val="0"/>
              <c:showVal val="1"/>
              <c:showCatName val="0"/>
              <c:showSerName val="0"/>
              <c:showPercent val="0"/>
              <c:showBubbleSize val="0"/>
            </c:dLbl>
            <c:dLbl>
              <c:idx val="8"/>
              <c:tx>
                <c:rich>
                  <a:bodyPr/>
                  <a:lstStyle/>
                  <a:p>
                    <a:r>
                      <a:t>32.12</a:t>
                    </a:r>
                  </a:p>
                </c:rich>
              </c:tx>
              <c:showLegendKey val="0"/>
              <c:showVal val="1"/>
              <c:showCatName val="0"/>
              <c:showSerName val="0"/>
              <c:showPercent val="0"/>
              <c:showBubbleSize val="0"/>
            </c:dLbl>
            <c:dLbl>
              <c:idx val="9"/>
              <c:tx>
                <c:rich>
                  <a:bodyPr/>
                  <a:lstStyle/>
                  <a:p>
                    <a:r>
                      <a:t>42.09</a:t>
                    </a:r>
                  </a:p>
                </c:rich>
              </c:tx>
              <c:showLegendKey val="0"/>
              <c:showVal val="1"/>
              <c:showCatName val="0"/>
              <c:showSerName val="0"/>
              <c:showPercent val="0"/>
              <c:showBubbleSize val="0"/>
            </c:dLbl>
            <c:dLbl>
              <c:idx val="10"/>
              <c:tx>
                <c:rich>
                  <a:bodyPr/>
                  <a:lstStyle/>
                  <a:p>
                    <a:r>
                      <a:t>10.19</a:t>
                    </a:r>
                  </a:p>
                </c:rich>
              </c:tx>
              <c:showLegendKey val="0"/>
              <c:showVal val="1"/>
              <c:showCatName val="0"/>
              <c:showSerName val="0"/>
              <c:showPercent val="0"/>
              <c:showBubbleSize val="0"/>
            </c:dLbl>
            <c:dLbl>
              <c:idx val="11"/>
              <c:tx>
                <c:rich>
                  <a:bodyPr/>
                  <a:lstStyle/>
                  <a:p>
                    <a:r>
                      <a:t>17.2</a:t>
                    </a:r>
                  </a:p>
                </c:rich>
              </c:tx>
              <c:showLegendKey val="0"/>
              <c:showVal val="1"/>
              <c:showCatName val="0"/>
              <c:showSerName val="0"/>
              <c:showPercent val="0"/>
              <c:showBubbleSize val="0"/>
            </c:dLbl>
            <c:dLbl>
              <c:idx val="12"/>
              <c:tx>
                <c:rich>
                  <a:bodyPr/>
                  <a:lstStyle/>
                  <a:p>
                    <a:r>
                      <a:t>24.64</a:t>
                    </a:r>
                  </a:p>
                </c:rich>
              </c:tx>
              <c:showLegendKey val="0"/>
              <c:showVal val="1"/>
              <c:showCatName val="0"/>
              <c:showSerName val="0"/>
              <c:showPercent val="0"/>
              <c:showBubbleSize val="0"/>
            </c:dLbl>
            <c:dLbl>
              <c:idx val="13"/>
              <c:tx>
                <c:rich>
                  <a:bodyPr/>
                  <a:lstStyle/>
                  <a:p>
                    <a:r>
                      <a:t>45.2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HYDRO 5 SENSITIVE 5 BLADE REFILL SENSITIVE 6CT</c:v>
                </c:pt>
                <c:pt idx="1">
                  <c:v>HYDRO 5 SENSITIVE 5 BLADE REFILL SENSITIVE 12CT</c:v>
                </c:pt>
                <c:pt idx="2">
                  <c:v>HYDRO 5 DRY SKIN 5 BLADE REFILL DRY 6CT</c:v>
                </c:pt>
                <c:pt idx="3">
                  <c:v>SCHICK QUATTRO FOR MEN 4 BLADE REFILL NORMAL 8CT</c:v>
                </c:pt>
                <c:pt idx="4">
                  <c:v>SCHICK HYDRO STUBBLE ERASER 5 BLADE REFILL NORMAL 12CT</c:v>
                </c:pt>
                <c:pt idx="5">
                  <c:v>GILLETTE FUSION 5 5 BLADE REFILL NORMAL 4CT</c:v>
                </c:pt>
                <c:pt idx="6">
                  <c:v>GILLETTE FUSION 5 5 BLADE REFILL NORMAL 16CT</c:v>
                </c:pt>
                <c:pt idx="7">
                  <c:v>GILLETTE MACH 3 3 BLADE REFILL NORMAL 4CT</c:v>
                </c:pt>
                <c:pt idx="8">
                  <c:v>GILLETTE FUSION 5 5 BLADE REFILL NORMAL 8CT</c:v>
                </c:pt>
                <c:pt idx="9">
                  <c:v>GILLETTE FUSION 5 5 BLADE REFILL NORMAL 12CT</c:v>
                </c:pt>
                <c:pt idx="10">
                  <c:v>HARRY'S 5 BLADE REFILL NORMAL 4CT</c:v>
                </c:pt>
                <c:pt idx="11">
                  <c:v>HARRY'S 5 BLADE REFILL NORMAL 8CT</c:v>
                </c:pt>
                <c:pt idx="12">
                  <c:v>HARRY'S 5 BLADE REFILL NORMAL 12CT</c:v>
                </c:pt>
                <c:pt idx="13">
                  <c:v>PHILIPS NORELCO ONE BLADE 1 BLADE REFILL NORMAL 5CT</c:v>
                </c:pt>
              </c:strCache>
            </c:strRef>
          </c:cat>
          <c:val>
            <c:numRef>
              <c:f>Sheet1!$B$2:$B$15</c:f>
              <c:numCache>
                <c:formatCode>General</c:formatCode>
                <c:ptCount val="14"/>
                <c:pt idx="0">
                  <c:v>15.22</c:v>
                </c:pt>
                <c:pt idx="1">
                  <c:v>26.91</c:v>
                </c:pt>
                <c:pt idx="2">
                  <c:v>16.88</c:v>
                </c:pt>
                <c:pt idx="3">
                  <c:v>13.58</c:v>
                </c:pt>
                <c:pt idx="4">
                  <c:v>23.94</c:v>
                </c:pt>
                <c:pt idx="5">
                  <c:v>19.45</c:v>
                </c:pt>
                <c:pt idx="6">
                  <c:v>42.25</c:v>
                </c:pt>
                <c:pt idx="7">
                  <c:v>13.06</c:v>
                </c:pt>
                <c:pt idx="8">
                  <c:v>32.12</c:v>
                </c:pt>
                <c:pt idx="9">
                  <c:v>42.09</c:v>
                </c:pt>
                <c:pt idx="10">
                  <c:v>10.19</c:v>
                </c:pt>
                <c:pt idx="11">
                  <c:v>17.2</c:v>
                </c:pt>
                <c:pt idx="12">
                  <c:v>24.64</c:v>
                </c:pt>
                <c:pt idx="13">
                  <c:v>45.2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8.96</a:t>
                    </a:r>
                  </a:p>
                </c:rich>
              </c:tx>
              <c:showLegendKey val="0"/>
              <c:showVal val="1"/>
              <c:showCatName val="0"/>
              <c:showSerName val="0"/>
              <c:showPercent val="0"/>
              <c:showBubbleSize val="0"/>
            </c:dLbl>
            <c:dLbl>
              <c:idx val="1"/>
              <c:tx>
                <c:rich>
                  <a:bodyPr/>
                  <a:lstStyle/>
                  <a:p>
                    <a:r>
                      <a:t>20.0</a:t>
                    </a:r>
                  </a:p>
                </c:rich>
              </c:tx>
              <c:showLegendKey val="0"/>
              <c:showVal val="1"/>
              <c:showCatName val="0"/>
              <c:showSerName val="0"/>
              <c:showPercent val="0"/>
              <c:showBubbleSize val="0"/>
            </c:dLbl>
            <c:dLbl>
              <c:idx val="2"/>
              <c:tx>
                <c:rich>
                  <a:bodyPr/>
                  <a:lstStyle/>
                  <a:p>
                    <a:r>
                      <a:t>15.87</a:t>
                    </a:r>
                  </a:p>
                </c:rich>
              </c:tx>
              <c:showLegendKey val="0"/>
              <c:showVal val="1"/>
              <c:showCatName val="0"/>
              <c:showSerName val="0"/>
              <c:showPercent val="0"/>
              <c:showBubbleSize val="0"/>
            </c:dLbl>
            <c:dLbl>
              <c:idx val="3"/>
              <c:tx>
                <c:rich>
                  <a:bodyPr/>
                  <a:lstStyle/>
                  <a:p>
                    <a:r>
                      <a:t>19.45</a:t>
                    </a:r>
                  </a:p>
                </c:rich>
              </c:tx>
              <c:showLegendKey val="0"/>
              <c:showVal val="1"/>
              <c:showCatName val="0"/>
              <c:showSerName val="0"/>
              <c:showPercent val="0"/>
              <c:showBubbleSize val="0"/>
            </c:dLbl>
            <c:dLbl>
              <c:idx val="4"/>
              <c:tx>
                <c:rich>
                  <a:bodyPr/>
                  <a:lstStyle/>
                  <a:p>
                    <a:r>
                      <a:t>42.25</a:t>
                    </a:r>
                  </a:p>
                </c:rich>
              </c:tx>
              <c:showLegendKey val="0"/>
              <c:showVal val="1"/>
              <c:showCatName val="0"/>
              <c:showSerName val="0"/>
              <c:showPercent val="0"/>
              <c:showBubbleSize val="0"/>
            </c:dLbl>
            <c:dLbl>
              <c:idx val="5"/>
              <c:tx>
                <c:rich>
                  <a:bodyPr/>
                  <a:lstStyle/>
                  <a:p>
                    <a:r>
                      <a:t>13.06</a:t>
                    </a:r>
                  </a:p>
                </c:rich>
              </c:tx>
              <c:showLegendKey val="0"/>
              <c:showVal val="1"/>
              <c:showCatName val="0"/>
              <c:showSerName val="0"/>
              <c:showPercent val="0"/>
              <c:showBubbleSize val="0"/>
            </c:dLbl>
            <c:dLbl>
              <c:idx val="6"/>
              <c:tx>
                <c:rich>
                  <a:bodyPr/>
                  <a:lstStyle/>
                  <a:p>
                    <a:r>
                      <a:t>32.12</a:t>
                    </a:r>
                  </a:p>
                </c:rich>
              </c:tx>
              <c:showLegendKey val="0"/>
              <c:showVal val="1"/>
              <c:showCatName val="0"/>
              <c:showSerName val="0"/>
              <c:showPercent val="0"/>
              <c:showBubbleSize val="0"/>
            </c:dLbl>
            <c:dLbl>
              <c:idx val="7"/>
              <c:tx>
                <c:rich>
                  <a:bodyPr/>
                  <a:lstStyle/>
                  <a:p>
                    <a:r>
                      <a:t>42.09</a:t>
                    </a:r>
                  </a:p>
                </c:rich>
              </c:tx>
              <c:showLegendKey val="0"/>
              <c:showVal val="1"/>
              <c:showCatName val="0"/>
              <c:showSerName val="0"/>
              <c:showPercent val="0"/>
              <c:showBubbleSize val="0"/>
            </c:dLbl>
            <c:dLbl>
              <c:idx val="8"/>
              <c:tx>
                <c:rich>
                  <a:bodyPr/>
                  <a:lstStyle/>
                  <a:p>
                    <a:r>
                      <a:t>10.19</a:t>
                    </a:r>
                  </a:p>
                </c:rich>
              </c:tx>
              <c:showLegendKey val="0"/>
              <c:showVal val="1"/>
              <c:showCatName val="0"/>
              <c:showSerName val="0"/>
              <c:showPercent val="0"/>
              <c:showBubbleSize val="0"/>
            </c:dLbl>
            <c:dLbl>
              <c:idx val="9"/>
              <c:tx>
                <c:rich>
                  <a:bodyPr/>
                  <a:lstStyle/>
                  <a:p>
                    <a:r>
                      <a:t>17.2</a:t>
                    </a:r>
                  </a:p>
                </c:rich>
              </c:tx>
              <c:showLegendKey val="0"/>
              <c:showVal val="1"/>
              <c:showCatName val="0"/>
              <c:showSerName val="0"/>
              <c:showPercent val="0"/>
              <c:showBubbleSize val="0"/>
            </c:dLbl>
            <c:dLbl>
              <c:idx val="10"/>
              <c:tx>
                <c:rich>
                  <a:bodyPr/>
                  <a:lstStyle/>
                  <a:p>
                    <a:r>
                      <a:t>24.64</a:t>
                    </a:r>
                  </a:p>
                </c:rich>
              </c:tx>
              <c:showLegendKey val="0"/>
              <c:showVal val="1"/>
              <c:showCatName val="0"/>
              <c:showSerName val="0"/>
              <c:showPercent val="0"/>
              <c:showBubbleSize val="0"/>
            </c:dLbl>
            <c:dLbl>
              <c:idx val="11"/>
              <c:tx>
                <c:rich>
                  <a:bodyPr/>
                  <a:lstStyle/>
                  <a:p>
                    <a:r>
                      <a:t>45.2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EQUATE EASY FIT 5 5 BLADE REFILL NORMAL 4CT</c:v>
                </c:pt>
                <c:pt idx="1">
                  <c:v>EQUATE EASY FIT 5 5 BLADE REFILL NORMAL 12CT</c:v>
                </c:pt>
                <c:pt idx="2">
                  <c:v>EQUATE EASY FIT 5 5 BLADE REFILL NORMAL 8CT</c:v>
                </c:pt>
                <c:pt idx="3">
                  <c:v>GILLETTE FUSION 5 5 BLADE REFILL NORMAL 4CT</c:v>
                </c:pt>
                <c:pt idx="4">
                  <c:v>GILLETTE FUSION 5 5 BLADE REFILL NORMAL 16CT</c:v>
                </c:pt>
                <c:pt idx="5">
                  <c:v>GILLETTE MACH 3 3 BLADE REFILL NORMAL 4CT</c:v>
                </c:pt>
                <c:pt idx="6">
                  <c:v>GILLETTE FUSION 5 5 BLADE REFILL NORMAL 8CT</c:v>
                </c:pt>
                <c:pt idx="7">
                  <c:v>GILLETTE FUSION 5 5 BLADE REFILL NORMAL 12CT</c:v>
                </c:pt>
                <c:pt idx="8">
                  <c:v>HARRY'S 5 BLADE REFILL NORMAL 4CT</c:v>
                </c:pt>
                <c:pt idx="9">
                  <c:v>HARRY'S 5 BLADE REFILL NORMAL 8CT</c:v>
                </c:pt>
                <c:pt idx="10">
                  <c:v>HARRY'S 5 BLADE REFILL NORMAL 12CT</c:v>
                </c:pt>
                <c:pt idx="11">
                  <c:v>PHILIPS NORELCO ONE BLADE 1 BLADE REFILL NORMAL 5CT</c:v>
                </c:pt>
              </c:strCache>
            </c:strRef>
          </c:cat>
          <c:val>
            <c:numRef>
              <c:f>Sheet1!$B$2:$B$13</c:f>
              <c:numCache>
                <c:formatCode>General</c:formatCode>
                <c:ptCount val="12"/>
                <c:pt idx="0">
                  <c:v>8.96</c:v>
                </c:pt>
                <c:pt idx="1">
                  <c:v>20.0</c:v>
                </c:pt>
                <c:pt idx="2">
                  <c:v>15.87</c:v>
                </c:pt>
                <c:pt idx="3">
                  <c:v>19.45</c:v>
                </c:pt>
                <c:pt idx="4">
                  <c:v>42.25</c:v>
                </c:pt>
                <c:pt idx="5">
                  <c:v>13.06</c:v>
                </c:pt>
                <c:pt idx="6">
                  <c:v>32.12</c:v>
                </c:pt>
                <c:pt idx="7">
                  <c:v>42.09</c:v>
                </c:pt>
                <c:pt idx="8">
                  <c:v>10.19</c:v>
                </c:pt>
                <c:pt idx="9">
                  <c:v>17.2</c:v>
                </c:pt>
                <c:pt idx="10">
                  <c:v>24.64</c:v>
                </c:pt>
                <c:pt idx="11">
                  <c:v>45.2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9</a:t>
                    </a:r>
                  </a:p>
                </c:rich>
              </c:tx>
              <c:showLegendKey val="0"/>
              <c:showVal val="1"/>
              <c:showCatName val="0"/>
              <c:showSerName val="0"/>
              <c:showPercent val="0"/>
              <c:showBubbleSize val="0"/>
            </c:dLbl>
            <c:dLbl>
              <c:idx val="1"/>
              <c:tx>
                <c:rich>
                  <a:bodyPr/>
                  <a:lstStyle/>
                  <a:p>
                    <a:r>
                      <a:t>19.45</a:t>
                    </a:r>
                  </a:p>
                </c:rich>
              </c:tx>
              <c:showLegendKey val="0"/>
              <c:showVal val="1"/>
              <c:showCatName val="0"/>
              <c:showSerName val="0"/>
              <c:showPercent val="0"/>
              <c:showBubbleSize val="0"/>
            </c:dLbl>
            <c:dLbl>
              <c:idx val="2"/>
              <c:tx>
                <c:rich>
                  <a:bodyPr/>
                  <a:lstStyle/>
                  <a:p>
                    <a:r>
                      <a:t>42.25</a:t>
                    </a:r>
                  </a:p>
                </c:rich>
              </c:tx>
              <c:showLegendKey val="0"/>
              <c:showVal val="1"/>
              <c:showCatName val="0"/>
              <c:showSerName val="0"/>
              <c:showPercent val="0"/>
              <c:showBubbleSize val="0"/>
            </c:dLbl>
            <c:dLbl>
              <c:idx val="3"/>
              <c:tx>
                <c:rich>
                  <a:bodyPr/>
                  <a:lstStyle/>
                  <a:p>
                    <a:r>
                      <a:t>13.06</a:t>
                    </a:r>
                  </a:p>
                </c:rich>
              </c:tx>
              <c:showLegendKey val="0"/>
              <c:showVal val="1"/>
              <c:showCatName val="0"/>
              <c:showSerName val="0"/>
              <c:showPercent val="0"/>
              <c:showBubbleSize val="0"/>
            </c:dLbl>
            <c:dLbl>
              <c:idx val="4"/>
              <c:tx>
                <c:rich>
                  <a:bodyPr/>
                  <a:lstStyle/>
                  <a:p>
                    <a:r>
                      <a:t>32.12</a:t>
                    </a:r>
                  </a:p>
                </c:rich>
              </c:tx>
              <c:showLegendKey val="0"/>
              <c:showVal val="1"/>
              <c:showCatName val="0"/>
              <c:showSerName val="0"/>
              <c:showPercent val="0"/>
              <c:showBubbleSize val="0"/>
            </c:dLbl>
            <c:dLbl>
              <c:idx val="5"/>
              <c:tx>
                <c:rich>
                  <a:bodyPr/>
                  <a:lstStyle/>
                  <a:p>
                    <a:r>
                      <a:t>42.09</a:t>
                    </a:r>
                  </a:p>
                </c:rich>
              </c:tx>
              <c:showLegendKey val="0"/>
              <c:showVal val="1"/>
              <c:showCatName val="0"/>
              <c:showSerName val="0"/>
              <c:showPercent val="0"/>
              <c:showBubbleSize val="0"/>
            </c:dLbl>
            <c:dLbl>
              <c:idx val="6"/>
              <c:tx>
                <c:rich>
                  <a:bodyPr/>
                  <a:lstStyle/>
                  <a:p>
                    <a:r>
                      <a:t>10.19</a:t>
                    </a:r>
                  </a:p>
                </c:rich>
              </c:tx>
              <c:showLegendKey val="0"/>
              <c:showVal val="1"/>
              <c:showCatName val="0"/>
              <c:showSerName val="0"/>
              <c:showPercent val="0"/>
              <c:showBubbleSize val="0"/>
            </c:dLbl>
            <c:dLbl>
              <c:idx val="7"/>
              <c:tx>
                <c:rich>
                  <a:bodyPr/>
                  <a:lstStyle/>
                  <a:p>
                    <a:r>
                      <a:t>17.2</a:t>
                    </a:r>
                  </a:p>
                </c:rich>
              </c:tx>
              <c:showLegendKey val="0"/>
              <c:showVal val="1"/>
              <c:showCatName val="0"/>
              <c:showSerName val="0"/>
              <c:showPercent val="0"/>
              <c:showBubbleSize val="0"/>
            </c:dLbl>
            <c:dLbl>
              <c:idx val="8"/>
              <c:tx>
                <c:rich>
                  <a:bodyPr/>
                  <a:lstStyle/>
                  <a:p>
                    <a:r>
                      <a:t>24.64</a:t>
                    </a:r>
                  </a:p>
                </c:rich>
              </c:tx>
              <c:showLegendKey val="0"/>
              <c:showVal val="1"/>
              <c:showCatName val="0"/>
              <c:showSerName val="0"/>
              <c:showPercent val="0"/>
              <c:showBubbleSize val="0"/>
            </c:dLbl>
            <c:dLbl>
              <c:idx val="9"/>
              <c:tx>
                <c:rich>
                  <a:bodyPr/>
                  <a:lstStyle/>
                  <a:p>
                    <a:r>
                      <a:t>45.2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REMO 5 BLADE REFILL NORMAL 4CT</c:v>
                </c:pt>
                <c:pt idx="1">
                  <c:v>GILLETTE FUSION 5 5 BLADE REFILL NORMAL 4CT</c:v>
                </c:pt>
                <c:pt idx="2">
                  <c:v>GILLETTE FUSION 5 5 BLADE REFILL NORMAL 16CT</c:v>
                </c:pt>
                <c:pt idx="3">
                  <c:v>GILLETTE MACH 3 3 BLADE REFILL NORMAL 4CT</c:v>
                </c:pt>
                <c:pt idx="4">
                  <c:v>GILLETTE FUSION 5 5 BLADE REFILL NORMAL 8CT</c:v>
                </c:pt>
                <c:pt idx="5">
                  <c:v>GILLETTE FUSION 5 5 BLADE REFILL NORMAL 12CT</c:v>
                </c:pt>
                <c:pt idx="6">
                  <c:v>HARRY'S 5 BLADE REFILL NORMAL 4CT</c:v>
                </c:pt>
                <c:pt idx="7">
                  <c:v>HARRY'S 5 BLADE REFILL NORMAL 8CT</c:v>
                </c:pt>
                <c:pt idx="8">
                  <c:v>HARRY'S 5 BLADE REFILL NORMAL 12CT</c:v>
                </c:pt>
                <c:pt idx="9">
                  <c:v>PHILIPS NORELCO ONE BLADE 1 BLADE REFILL NORMAL 5CT</c:v>
                </c:pt>
              </c:strCache>
            </c:strRef>
          </c:cat>
          <c:val>
            <c:numRef>
              <c:f>Sheet1!$B$2:$B$11</c:f>
              <c:numCache>
                <c:formatCode>General</c:formatCode>
                <c:ptCount val="10"/>
                <c:pt idx="0">
                  <c:v>13.9</c:v>
                </c:pt>
                <c:pt idx="1">
                  <c:v>19.45</c:v>
                </c:pt>
                <c:pt idx="2">
                  <c:v>42.25</c:v>
                </c:pt>
                <c:pt idx="3">
                  <c:v>13.06</c:v>
                </c:pt>
                <c:pt idx="4">
                  <c:v>32.12</c:v>
                </c:pt>
                <c:pt idx="5">
                  <c:v>42.09</c:v>
                </c:pt>
                <c:pt idx="6">
                  <c:v>10.19</c:v>
                </c:pt>
                <c:pt idx="7">
                  <c:v>17.2</c:v>
                </c:pt>
                <c:pt idx="8">
                  <c:v>24.64</c:v>
                </c:pt>
                <c:pt idx="9">
                  <c:v>45.2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22</a:t>
                    </a:r>
                  </a:p>
                </c:rich>
              </c:tx>
              <c:dLblPos val="t"/>
              <c:showLegendKey val="0"/>
              <c:showVal val="1"/>
              <c:showCatName val="0"/>
              <c:showSerName val="0"/>
              <c:showPercent val="0"/>
              <c:showBubbleSize val="0"/>
            </c:dLbl>
            <c:dLbl>
              <c:idx val="1"/>
              <c:tx>
                <c:rich>
                  <a:bodyPr/>
                  <a:lstStyle/>
                  <a:p>
                    <a:r>
                      <a:t>22.86</a:t>
                    </a:r>
                  </a:p>
                </c:rich>
              </c:tx>
              <c:dLblPos val="t"/>
              <c:showLegendKey val="0"/>
              <c:showVal val="1"/>
              <c:showCatName val="0"/>
              <c:showSerName val="0"/>
              <c:showPercent val="0"/>
              <c:showBubbleSize val="0"/>
            </c:dLbl>
            <c:dLbl>
              <c:idx val="2"/>
              <c:tx>
                <c:rich>
                  <a:bodyPr/>
                  <a:lstStyle/>
                  <a:p>
                    <a:r>
                      <a:t>25.21</a:t>
                    </a:r>
                  </a:p>
                </c:rich>
              </c:tx>
              <c:dLblPos val="t"/>
              <c:showLegendKey val="0"/>
              <c:showVal val="1"/>
              <c:showCatName val="0"/>
              <c:showSerName val="0"/>
              <c:showPercent val="0"/>
              <c:showBubbleSize val="0"/>
            </c:dLbl>
            <c:dLbl>
              <c:idx val="3"/>
              <c:tx>
                <c:rich>
                  <a:bodyPr/>
                  <a:lstStyle/>
                  <a:p>
                    <a:r>
                      <a:t>22.0</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CHICK XTREME 3 SENSITIVE BLACK GREEN 3 BLADE DISPOSABLE SENSITIVE 20CT</c:v>
                </c:pt>
                <c:pt idx="1">
                  <c:v>SCHICK XTREME 3 SENSITIVE BLACK 3 BLADE DISPOSABLE SENSITIVE 20CT</c:v>
                </c:pt>
                <c:pt idx="2">
                  <c:v>SCHICK XTREME 3 SENSITIVE 3 BLADE DISPOSABLE SENSITIVE 25CT</c:v>
                </c:pt>
                <c:pt idx="3">
                  <c:v>SCHICK XTREME 3 3 BLADE DISPOSABLE SENSITIVE 20CT</c:v>
                </c:pt>
              </c:strCache>
            </c:strRef>
          </c:cat>
          <c:val>
            <c:numRef>
              <c:f>Sheet1!$B$2:$B$5</c:f>
              <c:numCache>
                <c:formatCode>General</c:formatCode>
                <c:ptCount val="4"/>
                <c:pt idx="0">
                  <c:v>20.22</c:v>
                </c:pt>
                <c:pt idx="1">
                  <c:v>22.86</c:v>
                </c:pt>
                <c:pt idx="2">
                  <c:v>25.21</c:v>
                </c:pt>
                <c:pt idx="3">
                  <c:v>22.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73</a:t>
                    </a:r>
                  </a:p>
                </c:rich>
              </c:tx>
              <c:showLegendKey val="0"/>
              <c:showVal val="1"/>
              <c:showCatName val="0"/>
              <c:showSerName val="0"/>
              <c:showPercent val="0"/>
              <c:showBubbleSize val="0"/>
            </c:dLbl>
            <c:dLbl>
              <c:idx val="1"/>
              <c:tx>
                <c:rich>
                  <a:bodyPr/>
                  <a:lstStyle/>
                  <a:p>
                    <a:r>
                      <a:t>26.51</a:t>
                    </a:r>
                  </a:p>
                </c:rich>
              </c:tx>
              <c:showLegendKey val="0"/>
              <c:showVal val="1"/>
              <c:showCatName val="0"/>
              <c:showSerName val="0"/>
              <c:showPercent val="0"/>
              <c:showBubbleSize val="0"/>
            </c:dLbl>
            <c:dLbl>
              <c:idx val="2"/>
              <c:tx>
                <c:rich>
                  <a:bodyPr/>
                  <a:lstStyle/>
                  <a:p>
                    <a:r>
                      <a:t>9.53</a:t>
                    </a:r>
                  </a:p>
                </c:rich>
              </c:tx>
              <c:showLegendKey val="0"/>
              <c:showVal val="1"/>
              <c:showCatName val="0"/>
              <c:showSerName val="0"/>
              <c:showPercent val="0"/>
              <c:showBubbleSize val="0"/>
            </c:dLbl>
            <c:dLbl>
              <c:idx val="3"/>
              <c:tx>
                <c:rich>
                  <a:bodyPr/>
                  <a:lstStyle/>
                  <a:p>
                    <a:r>
                      <a:t>18.42</a:t>
                    </a:r>
                  </a:p>
                </c:rich>
              </c:tx>
              <c:showLegendKey val="0"/>
              <c:showVal val="1"/>
              <c:showCatName val="0"/>
              <c:showSerName val="0"/>
              <c:showPercent val="0"/>
              <c:showBubbleSize val="0"/>
            </c:dLbl>
            <c:dLbl>
              <c:idx val="4"/>
              <c:tx>
                <c:rich>
                  <a:bodyPr/>
                  <a:lstStyle/>
                  <a:p>
                    <a:r>
                      <a:t>12.46</a:t>
                    </a:r>
                  </a:p>
                </c:rich>
              </c:tx>
              <c:showLegendKey val="0"/>
              <c:showVal val="1"/>
              <c:showCatName val="0"/>
              <c:showSerName val="0"/>
              <c:showPercent val="0"/>
              <c:showBubbleSize val="0"/>
            </c:dLbl>
            <c:dLbl>
              <c:idx val="5"/>
              <c:tx>
                <c:rich>
                  <a:bodyPr/>
                  <a:lstStyle/>
                  <a:p>
                    <a:r>
                      <a:t>40.1</a:t>
                    </a:r>
                  </a:p>
                </c:rich>
              </c:tx>
              <c:showLegendKey val="0"/>
              <c:showVal val="1"/>
              <c:showCatName val="0"/>
              <c:showSerName val="0"/>
              <c:showPercent val="0"/>
              <c:showBubbleSize val="0"/>
            </c:dLbl>
            <c:dLbl>
              <c:idx val="6"/>
              <c:tx>
                <c:rich>
                  <a:bodyPr/>
                  <a:lstStyle/>
                  <a:p>
                    <a:r>
                      <a:t>29.97</a:t>
                    </a:r>
                  </a:p>
                </c:rich>
              </c:tx>
              <c:showLegendKey val="0"/>
              <c:showVal val="1"/>
              <c:showCatName val="0"/>
              <c:showSerName val="0"/>
              <c:showPercent val="0"/>
              <c:showBubbleSize val="0"/>
            </c:dLbl>
            <c:dLbl>
              <c:idx val="7"/>
              <c:tx>
                <c:rich>
                  <a:bodyPr/>
                  <a:lstStyle/>
                  <a:p>
                    <a:r>
                      <a:t>22.46</a:t>
                    </a:r>
                  </a:p>
                </c:rich>
              </c:tx>
              <c:showLegendKey val="0"/>
              <c:showVal val="1"/>
              <c:showCatName val="0"/>
              <c:showSerName val="0"/>
              <c:showPercent val="0"/>
              <c:showBubbleSize val="0"/>
            </c:dLbl>
            <c:dLbl>
              <c:idx val="8"/>
              <c:tx>
                <c:rich>
                  <a:bodyPr/>
                  <a:lstStyle/>
                  <a:p>
                    <a:r>
                      <a:t>9.97</a:t>
                    </a:r>
                  </a:p>
                </c:rich>
              </c:tx>
              <c:showLegendKey val="0"/>
              <c:showVal val="1"/>
              <c:showCatName val="0"/>
              <c:showSerName val="0"/>
              <c:showPercent val="0"/>
              <c:showBubbleSize val="0"/>
            </c:dLbl>
            <c:dLbl>
              <c:idx val="9"/>
              <c:tx>
                <c:rich>
                  <a:bodyPr/>
                  <a:lstStyle/>
                  <a:p>
                    <a:r>
                      <a:t>16.96</a:t>
                    </a:r>
                  </a:p>
                </c:rich>
              </c:tx>
              <c:showLegendKey val="0"/>
              <c:showVal val="1"/>
              <c:showCatName val="0"/>
              <c:showSerName val="0"/>
              <c:showPercent val="0"/>
              <c:showBubbleSize val="0"/>
            </c:dLbl>
            <c:dLbl>
              <c:idx val="10"/>
              <c:tx>
                <c:rich>
                  <a:bodyPr/>
                  <a:lstStyle/>
                  <a:p>
                    <a:r>
                      <a:t>23.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HYDRO 5 SENSITIVE 5 BLADE REFILL SENSITIVE 6CT</c:v>
                </c:pt>
                <c:pt idx="1">
                  <c:v>HYDRO 5 SENSITIVE 5 BLADE REFILL SENSITIVE 12CT</c:v>
                </c:pt>
                <c:pt idx="2">
                  <c:v>SCHICK HYDRO 3 SENSITIVE 3 BLADE REFILL SENSITIVE 5CT</c:v>
                </c:pt>
                <c:pt idx="3">
                  <c:v>GILLETTE FUSION 5 5 BLADE REFILL NORMAL 4CT</c:v>
                </c:pt>
                <c:pt idx="4">
                  <c:v>GILLETTE MACH 3 3 BLADE REFILL NORMAL 4CT</c:v>
                </c:pt>
                <c:pt idx="5">
                  <c:v>GILLETTE FUSION 5 5 BLADE REFILL NORMAL 12CT</c:v>
                </c:pt>
                <c:pt idx="6">
                  <c:v>GILLETTE FUSION 5 5 BLADE REFILL NORMAL 8CT</c:v>
                </c:pt>
                <c:pt idx="7">
                  <c:v>GILLETTE MACH 3 3 BLADE REFILL NORMAL 8CT</c:v>
                </c:pt>
                <c:pt idx="8">
                  <c:v>HARRY'S 5 BLADE REFILL NORMAL 4CT</c:v>
                </c:pt>
                <c:pt idx="9">
                  <c:v>HARRY'S 5 BLADE REFILL NORMAL 8CT</c:v>
                </c:pt>
                <c:pt idx="10">
                  <c:v>HARRY'S 5 BLADE REFILL NORMAL 12CT</c:v>
                </c:pt>
              </c:strCache>
            </c:strRef>
          </c:cat>
          <c:val>
            <c:numRef>
              <c:f>Sheet1!$B$2:$B$12</c:f>
              <c:numCache>
                <c:formatCode>General</c:formatCode>
                <c:ptCount val="11"/>
                <c:pt idx="0">
                  <c:v>14.73</c:v>
                </c:pt>
                <c:pt idx="1">
                  <c:v>26.51</c:v>
                </c:pt>
                <c:pt idx="2">
                  <c:v>9.53</c:v>
                </c:pt>
                <c:pt idx="3">
                  <c:v>18.42</c:v>
                </c:pt>
                <c:pt idx="4">
                  <c:v>12.46</c:v>
                </c:pt>
                <c:pt idx="5">
                  <c:v>40.1</c:v>
                </c:pt>
                <c:pt idx="6">
                  <c:v>29.97</c:v>
                </c:pt>
                <c:pt idx="7">
                  <c:v>22.46</c:v>
                </c:pt>
                <c:pt idx="8">
                  <c:v>9.97</c:v>
                </c:pt>
                <c:pt idx="9">
                  <c:v>16.96</c:v>
                </c:pt>
                <c:pt idx="10">
                  <c:v>23.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8.96</a:t>
                    </a:r>
                  </a:p>
                </c:rich>
              </c:tx>
              <c:showLegendKey val="0"/>
              <c:showVal val="1"/>
              <c:showCatName val="0"/>
              <c:showSerName val="0"/>
              <c:showPercent val="0"/>
              <c:showBubbleSize val="0"/>
            </c:dLbl>
            <c:dLbl>
              <c:idx val="1"/>
              <c:tx>
                <c:rich>
                  <a:bodyPr/>
                  <a:lstStyle/>
                  <a:p>
                    <a:r>
                      <a:t>20.0</a:t>
                    </a:r>
                  </a:p>
                </c:rich>
              </c:tx>
              <c:showLegendKey val="0"/>
              <c:showVal val="1"/>
              <c:showCatName val="0"/>
              <c:showSerName val="0"/>
              <c:showPercent val="0"/>
              <c:showBubbleSize val="0"/>
            </c:dLbl>
            <c:dLbl>
              <c:idx val="2"/>
              <c:tx>
                <c:rich>
                  <a:bodyPr/>
                  <a:lstStyle/>
                  <a:p>
                    <a:r>
                      <a:t>15.85</a:t>
                    </a:r>
                  </a:p>
                </c:rich>
              </c:tx>
              <c:showLegendKey val="0"/>
              <c:showVal val="1"/>
              <c:showCatName val="0"/>
              <c:showSerName val="0"/>
              <c:showPercent val="0"/>
              <c:showBubbleSize val="0"/>
            </c:dLbl>
            <c:dLbl>
              <c:idx val="3"/>
              <c:tx>
                <c:rich>
                  <a:bodyPr/>
                  <a:lstStyle/>
                  <a:p>
                    <a:r>
                      <a:t>18.42</a:t>
                    </a:r>
                  </a:p>
                </c:rich>
              </c:tx>
              <c:showLegendKey val="0"/>
              <c:showVal val="1"/>
              <c:showCatName val="0"/>
              <c:showSerName val="0"/>
              <c:showPercent val="0"/>
              <c:showBubbleSize val="0"/>
            </c:dLbl>
            <c:dLbl>
              <c:idx val="4"/>
              <c:tx>
                <c:rich>
                  <a:bodyPr/>
                  <a:lstStyle/>
                  <a:p>
                    <a:r>
                      <a:t>12.46</a:t>
                    </a:r>
                  </a:p>
                </c:rich>
              </c:tx>
              <c:showLegendKey val="0"/>
              <c:showVal val="1"/>
              <c:showCatName val="0"/>
              <c:showSerName val="0"/>
              <c:showPercent val="0"/>
              <c:showBubbleSize val="0"/>
            </c:dLbl>
            <c:dLbl>
              <c:idx val="5"/>
              <c:tx>
                <c:rich>
                  <a:bodyPr/>
                  <a:lstStyle/>
                  <a:p>
                    <a:r>
                      <a:t>40.1</a:t>
                    </a:r>
                  </a:p>
                </c:rich>
              </c:tx>
              <c:showLegendKey val="0"/>
              <c:showVal val="1"/>
              <c:showCatName val="0"/>
              <c:showSerName val="0"/>
              <c:showPercent val="0"/>
              <c:showBubbleSize val="0"/>
            </c:dLbl>
            <c:dLbl>
              <c:idx val="6"/>
              <c:tx>
                <c:rich>
                  <a:bodyPr/>
                  <a:lstStyle/>
                  <a:p>
                    <a:r>
                      <a:t>29.97</a:t>
                    </a:r>
                  </a:p>
                </c:rich>
              </c:tx>
              <c:showLegendKey val="0"/>
              <c:showVal val="1"/>
              <c:showCatName val="0"/>
              <c:showSerName val="0"/>
              <c:showPercent val="0"/>
              <c:showBubbleSize val="0"/>
            </c:dLbl>
            <c:dLbl>
              <c:idx val="7"/>
              <c:tx>
                <c:rich>
                  <a:bodyPr/>
                  <a:lstStyle/>
                  <a:p>
                    <a:r>
                      <a:t>22.46</a:t>
                    </a:r>
                  </a:p>
                </c:rich>
              </c:tx>
              <c:showLegendKey val="0"/>
              <c:showVal val="1"/>
              <c:showCatName val="0"/>
              <c:showSerName val="0"/>
              <c:showPercent val="0"/>
              <c:showBubbleSize val="0"/>
            </c:dLbl>
            <c:dLbl>
              <c:idx val="8"/>
              <c:tx>
                <c:rich>
                  <a:bodyPr/>
                  <a:lstStyle/>
                  <a:p>
                    <a:r>
                      <a:t>9.97</a:t>
                    </a:r>
                  </a:p>
                </c:rich>
              </c:tx>
              <c:showLegendKey val="0"/>
              <c:showVal val="1"/>
              <c:showCatName val="0"/>
              <c:showSerName val="0"/>
              <c:showPercent val="0"/>
              <c:showBubbleSize val="0"/>
            </c:dLbl>
            <c:dLbl>
              <c:idx val="9"/>
              <c:tx>
                <c:rich>
                  <a:bodyPr/>
                  <a:lstStyle/>
                  <a:p>
                    <a:r>
                      <a:t>16.96</a:t>
                    </a:r>
                  </a:p>
                </c:rich>
              </c:tx>
              <c:showLegendKey val="0"/>
              <c:showVal val="1"/>
              <c:showCatName val="0"/>
              <c:showSerName val="0"/>
              <c:showPercent val="0"/>
              <c:showBubbleSize val="0"/>
            </c:dLbl>
            <c:dLbl>
              <c:idx val="10"/>
              <c:tx>
                <c:rich>
                  <a:bodyPr/>
                  <a:lstStyle/>
                  <a:p>
                    <a:r>
                      <a:t>23.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EQUATE EASY FIT 5 5 BLADE REFILL NORMAL 4CT</c:v>
                </c:pt>
                <c:pt idx="1">
                  <c:v>EQUATE EASY FIT 5 5 BLADE REFILL NORMAL 12CT</c:v>
                </c:pt>
                <c:pt idx="2">
                  <c:v>EQUATE EASY FIT 5 5 BLADE REFILL NORMAL 8CT</c:v>
                </c:pt>
                <c:pt idx="3">
                  <c:v>GILLETTE FUSION 5 5 BLADE REFILL NORMAL 4CT</c:v>
                </c:pt>
                <c:pt idx="4">
                  <c:v>GILLETTE MACH 3 3 BLADE REFILL NORMAL 4CT</c:v>
                </c:pt>
                <c:pt idx="5">
                  <c:v>GILLETTE FUSION 5 5 BLADE REFILL NORMAL 12CT</c:v>
                </c:pt>
                <c:pt idx="6">
                  <c:v>GILLETTE FUSION 5 5 BLADE REFILL NORMAL 8CT</c:v>
                </c:pt>
                <c:pt idx="7">
                  <c:v>GILLETTE MACH 3 3 BLADE REFILL NORMAL 8CT</c:v>
                </c:pt>
                <c:pt idx="8">
                  <c:v>HARRY'S 5 BLADE REFILL NORMAL 4CT</c:v>
                </c:pt>
                <c:pt idx="9">
                  <c:v>HARRY'S 5 BLADE REFILL NORMAL 8CT</c:v>
                </c:pt>
                <c:pt idx="10">
                  <c:v>HARRY'S 5 BLADE REFILL NORMAL 12CT</c:v>
                </c:pt>
              </c:strCache>
            </c:strRef>
          </c:cat>
          <c:val>
            <c:numRef>
              <c:f>Sheet1!$B$2:$B$12</c:f>
              <c:numCache>
                <c:formatCode>General</c:formatCode>
                <c:ptCount val="11"/>
                <c:pt idx="0">
                  <c:v>8.96</c:v>
                </c:pt>
                <c:pt idx="1">
                  <c:v>20.0</c:v>
                </c:pt>
                <c:pt idx="2">
                  <c:v>15.85</c:v>
                </c:pt>
                <c:pt idx="3">
                  <c:v>18.42</c:v>
                </c:pt>
                <c:pt idx="4">
                  <c:v>12.46</c:v>
                </c:pt>
                <c:pt idx="5">
                  <c:v>40.1</c:v>
                </c:pt>
                <c:pt idx="6">
                  <c:v>29.97</c:v>
                </c:pt>
                <c:pt idx="7">
                  <c:v>22.46</c:v>
                </c:pt>
                <c:pt idx="8">
                  <c:v>9.97</c:v>
                </c:pt>
                <c:pt idx="9">
                  <c:v>16.96</c:v>
                </c:pt>
                <c:pt idx="10">
                  <c:v>23.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99</a:t>
                    </a:r>
                  </a:p>
                </c:rich>
              </c:tx>
              <c:showLegendKey val="0"/>
              <c:showVal val="1"/>
              <c:showCatName val="0"/>
              <c:showSerName val="0"/>
              <c:showPercent val="0"/>
              <c:showBubbleSize val="0"/>
            </c:dLbl>
            <c:dLbl>
              <c:idx val="1"/>
              <c:tx>
                <c:rich>
                  <a:bodyPr/>
                  <a:lstStyle/>
                  <a:p>
                    <a:r>
                      <a:t>18.42</a:t>
                    </a:r>
                  </a:p>
                </c:rich>
              </c:tx>
              <c:showLegendKey val="0"/>
              <c:showVal val="1"/>
              <c:showCatName val="0"/>
              <c:showSerName val="0"/>
              <c:showPercent val="0"/>
              <c:showBubbleSize val="0"/>
            </c:dLbl>
            <c:dLbl>
              <c:idx val="2"/>
              <c:tx>
                <c:rich>
                  <a:bodyPr/>
                  <a:lstStyle/>
                  <a:p>
                    <a:r>
                      <a:t>12.46</a:t>
                    </a:r>
                  </a:p>
                </c:rich>
              </c:tx>
              <c:showLegendKey val="0"/>
              <c:showVal val="1"/>
              <c:showCatName val="0"/>
              <c:showSerName val="0"/>
              <c:showPercent val="0"/>
              <c:showBubbleSize val="0"/>
            </c:dLbl>
            <c:dLbl>
              <c:idx val="3"/>
              <c:tx>
                <c:rich>
                  <a:bodyPr/>
                  <a:lstStyle/>
                  <a:p>
                    <a:r>
                      <a:t>40.1</a:t>
                    </a:r>
                  </a:p>
                </c:rich>
              </c:tx>
              <c:showLegendKey val="0"/>
              <c:showVal val="1"/>
              <c:showCatName val="0"/>
              <c:showSerName val="0"/>
              <c:showPercent val="0"/>
              <c:showBubbleSize val="0"/>
            </c:dLbl>
            <c:dLbl>
              <c:idx val="4"/>
              <c:tx>
                <c:rich>
                  <a:bodyPr/>
                  <a:lstStyle/>
                  <a:p>
                    <a:r>
                      <a:t>29.97</a:t>
                    </a:r>
                  </a:p>
                </c:rich>
              </c:tx>
              <c:showLegendKey val="0"/>
              <c:showVal val="1"/>
              <c:showCatName val="0"/>
              <c:showSerName val="0"/>
              <c:showPercent val="0"/>
              <c:showBubbleSize val="0"/>
            </c:dLbl>
            <c:dLbl>
              <c:idx val="5"/>
              <c:tx>
                <c:rich>
                  <a:bodyPr/>
                  <a:lstStyle/>
                  <a:p>
                    <a:r>
                      <a:t>22.46</a:t>
                    </a:r>
                  </a:p>
                </c:rich>
              </c:tx>
              <c:showLegendKey val="0"/>
              <c:showVal val="1"/>
              <c:showCatName val="0"/>
              <c:showSerName val="0"/>
              <c:showPercent val="0"/>
              <c:showBubbleSize val="0"/>
            </c:dLbl>
            <c:dLbl>
              <c:idx val="6"/>
              <c:tx>
                <c:rich>
                  <a:bodyPr/>
                  <a:lstStyle/>
                  <a:p>
                    <a:r>
                      <a:t>9.97</a:t>
                    </a:r>
                  </a:p>
                </c:rich>
              </c:tx>
              <c:showLegendKey val="0"/>
              <c:showVal val="1"/>
              <c:showCatName val="0"/>
              <c:showSerName val="0"/>
              <c:showPercent val="0"/>
              <c:showBubbleSize val="0"/>
            </c:dLbl>
            <c:dLbl>
              <c:idx val="7"/>
              <c:tx>
                <c:rich>
                  <a:bodyPr/>
                  <a:lstStyle/>
                  <a:p>
                    <a:r>
                      <a:t>16.96</a:t>
                    </a:r>
                  </a:p>
                </c:rich>
              </c:tx>
              <c:showLegendKey val="0"/>
              <c:showVal val="1"/>
              <c:showCatName val="0"/>
              <c:showSerName val="0"/>
              <c:showPercent val="0"/>
              <c:showBubbleSize val="0"/>
            </c:dLbl>
            <c:dLbl>
              <c:idx val="8"/>
              <c:tx>
                <c:rich>
                  <a:bodyPr/>
                  <a:lstStyle/>
                  <a:p>
                    <a:r>
                      <a:t>23.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CREMO 5 BLADE REFILL NORMAL 4CT</c:v>
                </c:pt>
                <c:pt idx="1">
                  <c:v>GILLETTE FUSION 5 5 BLADE REFILL NORMAL 4CT</c:v>
                </c:pt>
                <c:pt idx="2">
                  <c:v>GILLETTE MACH 3 3 BLADE REFILL NORMAL 4CT</c:v>
                </c:pt>
                <c:pt idx="3">
                  <c:v>GILLETTE FUSION 5 5 BLADE REFILL NORMAL 12CT</c:v>
                </c:pt>
                <c:pt idx="4">
                  <c:v>GILLETTE FUSION 5 5 BLADE REFILL NORMAL 8CT</c:v>
                </c:pt>
                <c:pt idx="5">
                  <c:v>GILLETTE MACH 3 3 BLADE REFILL NORMAL 8CT</c:v>
                </c:pt>
                <c:pt idx="6">
                  <c:v>HARRY'S 5 BLADE REFILL NORMAL 4CT</c:v>
                </c:pt>
                <c:pt idx="7">
                  <c:v>HARRY'S 5 BLADE REFILL NORMAL 8CT</c:v>
                </c:pt>
                <c:pt idx="8">
                  <c:v>HARRY'S 5 BLADE REFILL NORMAL 12CT</c:v>
                </c:pt>
              </c:strCache>
            </c:strRef>
          </c:cat>
          <c:val>
            <c:numRef>
              <c:f>Sheet1!$B$2:$B$10</c:f>
              <c:numCache>
                <c:formatCode>General</c:formatCode>
                <c:ptCount val="9"/>
                <c:pt idx="0">
                  <c:v>14.99</c:v>
                </c:pt>
                <c:pt idx="1">
                  <c:v>18.42</c:v>
                </c:pt>
                <c:pt idx="2">
                  <c:v>12.46</c:v>
                </c:pt>
                <c:pt idx="3">
                  <c:v>40.1</c:v>
                </c:pt>
                <c:pt idx="4">
                  <c:v>29.97</c:v>
                </c:pt>
                <c:pt idx="5">
                  <c:v>22.46</c:v>
                </c:pt>
                <c:pt idx="6">
                  <c:v>9.97</c:v>
                </c:pt>
                <c:pt idx="7">
                  <c:v>16.96</c:v>
                </c:pt>
                <c:pt idx="8">
                  <c:v>23.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Schick</c:v>
                </c:pt>
                <c:pt idx="1">
                  <c:v>Equate</c:v>
                </c:pt>
                <c:pt idx="2">
                  <c:v>Cremo</c:v>
                </c:pt>
                <c:pt idx="3">
                  <c:v>Gillette</c:v>
                </c:pt>
                <c:pt idx="4">
                  <c:v>Harry's</c:v>
                </c:pt>
                <c:pt idx="5">
                  <c:v>Bic</c:v>
                </c:pt>
                <c:pt idx="6">
                  <c:v>Dollar Shave Club</c:v>
                </c:pt>
              </c:strCache>
            </c:strRef>
          </c:cat>
          <c:val>
            <c:numRef>
              <c:f>Sheet1!$B$2:$B$8</c:f>
              <c:numCache>
                <c:formatCode>General</c:formatCode>
                <c:ptCount val="7"/>
                <c:pt idx="0">
                  <c:v>12.5455</c:v>
                </c:pt>
                <c:pt idx="1">
                  <c:v>3.0</c:v>
                </c:pt>
                <c:pt idx="3">
                  <c:v>13.63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Schick</c:v>
                </c:pt>
                <c:pt idx="1">
                  <c:v>Equate</c:v>
                </c:pt>
                <c:pt idx="2">
                  <c:v>Cremo</c:v>
                </c:pt>
                <c:pt idx="3">
                  <c:v>Gillette</c:v>
                </c:pt>
                <c:pt idx="4">
                  <c:v>Harry's</c:v>
                </c:pt>
                <c:pt idx="5">
                  <c:v>Bic</c:v>
                </c:pt>
                <c:pt idx="6">
                  <c:v>Dollar Shave Club</c:v>
                </c:pt>
              </c:strCache>
            </c:strRef>
          </c:cat>
          <c:val>
            <c:numRef>
              <c:f>Sheet1!$C$2:$C$8</c:f>
              <c:numCache>
                <c:formatCode>General</c:formatCode>
                <c:ptCount val="7"/>
                <c:pt idx="0">
                  <c:v>11.394</c:v>
                </c:pt>
                <c:pt idx="1">
                  <c:v>2.5255</c:v>
                </c:pt>
                <c:pt idx="3">
                  <c:v>21.6611</c:v>
                </c:pt>
                <c:pt idx="4">
                  <c:v>24.3256</c:v>
                </c:pt>
                <c:pt idx="5">
                  <c:v>4.58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chick</c:v>
                </c:pt>
                <c:pt idx="1">
                  <c:v>Equate</c:v>
                </c:pt>
                <c:pt idx="2">
                  <c:v>Cremo</c:v>
                </c:pt>
                <c:pt idx="3">
                  <c:v>Gillette</c:v>
                </c:pt>
                <c:pt idx="4">
                  <c:v>Harry's</c:v>
                </c:pt>
                <c:pt idx="5">
                  <c:v>Bic</c:v>
                </c:pt>
                <c:pt idx="6">
                  <c:v>Dollar Shave Club</c:v>
                </c:pt>
              </c:strCache>
            </c:strRef>
          </c:cat>
          <c:val>
            <c:numRef>
              <c:f>Sheet1!$D$2:$D$8</c:f>
              <c:numCache>
                <c:formatCode>General</c:formatCode>
                <c:ptCount val="7"/>
                <c:pt idx="3">
                  <c:v>41.50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chick</c:v>
                </c:pt>
                <c:pt idx="1">
                  <c:v>Equate</c:v>
                </c:pt>
                <c:pt idx="2">
                  <c:v>Cremo</c:v>
                </c:pt>
                <c:pt idx="3">
                  <c:v>Gillette</c:v>
                </c:pt>
                <c:pt idx="4">
                  <c:v>Harry's</c:v>
                </c:pt>
                <c:pt idx="5">
                  <c:v>Bic</c:v>
                </c:pt>
                <c:pt idx="6">
                  <c:v>Dollar Shave Club</c:v>
                </c:pt>
              </c:strCache>
            </c:strRef>
          </c:cat>
          <c:val>
            <c:numRef>
              <c:f>Sheet1!$E$2:$E$8</c:f>
              <c:numCache>
                <c:formatCode>General</c:formatCode>
                <c:ptCount val="7"/>
                <c:pt idx="1">
                  <c:v>18.5</c:v>
                </c:pt>
                <c:pt idx="3">
                  <c:v>27.734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6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Schick</c:v>
                </c:pt>
                <c:pt idx="1">
                  <c:v>Equate</c:v>
                </c:pt>
                <c:pt idx="2">
                  <c:v>Cremo</c:v>
                </c:pt>
                <c:pt idx="3">
                  <c:v>Gillette</c:v>
                </c:pt>
                <c:pt idx="4">
                  <c:v>Harry's</c:v>
                </c:pt>
                <c:pt idx="5">
                  <c:v>Bic</c:v>
                </c:pt>
                <c:pt idx="6">
                  <c:v>Dollar Shave Club</c:v>
                </c:pt>
              </c:strCache>
            </c:strRef>
          </c:cat>
          <c:val>
            <c:numRef>
              <c:f>Sheet1!$F$2:$F$8</c:f>
              <c:numCache>
                <c:formatCode>General</c:formatCode>
                <c:ptCount val="7"/>
                <c:pt idx="0">
                  <c:v>27.5854</c:v>
                </c:pt>
                <c:pt idx="3">
                  <c:v>39.326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7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Schick</c:v>
                </c:pt>
                <c:pt idx="1">
                  <c:v>Equate</c:v>
                </c:pt>
                <c:pt idx="2">
                  <c:v>Cremo</c:v>
                </c:pt>
                <c:pt idx="3">
                  <c:v>Gillette</c:v>
                </c:pt>
                <c:pt idx="4">
                  <c:v>Harry's</c:v>
                </c:pt>
                <c:pt idx="5">
                  <c:v>Bic</c:v>
                </c:pt>
                <c:pt idx="6">
                  <c:v>Dollar Shave Club</c:v>
                </c:pt>
              </c:strCache>
            </c:strRef>
          </c:cat>
          <c:val>
            <c:numRef>
              <c:f>Sheet1!$G$2:$G$8</c:f>
              <c:numCache>
                <c:formatCode>General</c:formatCode>
                <c:ptCount val="7"/>
                <c:pt idx="0">
                  <c:v>36.947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Schick</c:v>
                </c:pt>
                <c:pt idx="1">
                  <c:v>Equate</c:v>
                </c:pt>
                <c:pt idx="2">
                  <c:v>Cremo</c:v>
                </c:pt>
                <c:pt idx="3">
                  <c:v>Gillette</c:v>
                </c:pt>
                <c:pt idx="4">
                  <c:v>Harry's</c:v>
                </c:pt>
                <c:pt idx="5">
                  <c:v>Bic</c:v>
                </c:pt>
                <c:pt idx="6">
                  <c:v>Dollar Shave Club</c:v>
                </c:pt>
              </c:strCache>
            </c:strRef>
          </c:cat>
          <c:val>
            <c:numRef>
              <c:f>Sheet1!$H$2:$H$8</c:f>
              <c:numCache>
                <c:formatCode>General</c:formatCode>
                <c:ptCount val="7"/>
                <c:pt idx="3">
                  <c:v>14.8953</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1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chick</c:v>
                </c:pt>
                <c:pt idx="1">
                  <c:v>Equate</c:v>
                </c:pt>
                <c:pt idx="2">
                  <c:v>Cremo</c:v>
                </c:pt>
                <c:pt idx="3">
                  <c:v>Gillette</c:v>
                </c:pt>
                <c:pt idx="4">
                  <c:v>Harry's</c:v>
                </c:pt>
                <c:pt idx="5">
                  <c:v>Bic</c:v>
                </c:pt>
                <c:pt idx="6">
                  <c:v>Dollar Shave Club</c:v>
                </c:pt>
              </c:strCache>
            </c:strRef>
          </c:cat>
          <c:val>
            <c:numRef>
              <c:f>Sheet1!$I$2:$I$8</c:f>
              <c:numCache>
                <c:formatCode>General</c:formatCode>
                <c:ptCount val="7"/>
                <c:pt idx="0">
                  <c:v>3.0852</c:v>
                </c:pt>
                <c:pt idx="1">
                  <c:v>4.0</c:v>
                </c:pt>
                <c:pt idx="3">
                  <c:v>12.4352</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0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Schick</c:v>
                </c:pt>
                <c:pt idx="1">
                  <c:v>Equate</c:v>
                </c:pt>
                <c:pt idx="2">
                  <c:v>Cremo</c:v>
                </c:pt>
                <c:pt idx="3">
                  <c:v>Gillette</c:v>
                </c:pt>
                <c:pt idx="4">
                  <c:v>Harry's</c:v>
                </c:pt>
                <c:pt idx="5">
                  <c:v>Bic</c:v>
                </c:pt>
                <c:pt idx="6">
                  <c:v>Dollar Shave Club</c:v>
                </c:pt>
              </c:strCache>
            </c:strRef>
          </c:cat>
          <c:val>
            <c:numRef>
              <c:f>Sheet1!$J$2:$J$8</c:f>
              <c:numCache>
                <c:formatCode>General</c:formatCode>
                <c:ptCount val="7"/>
                <c:pt idx="0">
                  <c:v>18.1866</c:v>
                </c:pt>
                <c:pt idx="3">
                  <c:v>36.7325</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1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Schick</c:v>
                </c:pt>
                <c:pt idx="1">
                  <c:v>Equate</c:v>
                </c:pt>
                <c:pt idx="2">
                  <c:v>Cremo</c:v>
                </c:pt>
                <c:pt idx="3">
                  <c:v>Gillette</c:v>
                </c:pt>
                <c:pt idx="4">
                  <c:v>Harry's</c:v>
                </c:pt>
                <c:pt idx="5">
                  <c:v>Bic</c:v>
                </c:pt>
                <c:pt idx="6">
                  <c:v>Dollar Shave Club</c:v>
                </c:pt>
              </c:strCache>
            </c:strRef>
          </c:cat>
          <c:val>
            <c:numRef>
              <c:f>Sheet1!$K$2:$K$8</c:f>
              <c:numCache>
                <c:formatCode>General</c:formatCode>
                <c:ptCount val="7"/>
                <c:pt idx="3">
                  <c:v>20.5309</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CT</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chick</c:v>
                </c:pt>
                <c:pt idx="1">
                  <c:v>Equate</c:v>
                </c:pt>
                <c:pt idx="2">
                  <c:v>Cremo</c:v>
                </c:pt>
                <c:pt idx="3">
                  <c:v>Gillette</c:v>
                </c:pt>
                <c:pt idx="4">
                  <c:v>Harry's</c:v>
                </c:pt>
                <c:pt idx="5">
                  <c:v>Bic</c:v>
                </c:pt>
                <c:pt idx="6">
                  <c:v>Dollar Shave Club</c:v>
                </c:pt>
              </c:strCache>
            </c:strRef>
          </c:cat>
          <c:val>
            <c:numRef>
              <c:f>Sheet1!$L$2:$L$8</c:f>
              <c:numCache>
                <c:formatCode>General</c:formatCode>
                <c:ptCount val="7"/>
                <c:pt idx="0">
                  <c:v>21.7178</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2CT</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Schick</c:v>
                </c:pt>
                <c:pt idx="1">
                  <c:v>Equate</c:v>
                </c:pt>
                <c:pt idx="2">
                  <c:v>Cremo</c:v>
                </c:pt>
                <c:pt idx="3">
                  <c:v>Gillette</c:v>
                </c:pt>
                <c:pt idx="4">
                  <c:v>Harry's</c:v>
                </c:pt>
                <c:pt idx="5">
                  <c:v>Bic</c:v>
                </c:pt>
                <c:pt idx="6">
                  <c:v>Dollar Shave Club</c:v>
                </c:pt>
              </c:strCache>
            </c:strRef>
          </c:cat>
          <c:val>
            <c:numRef>
              <c:f>Sheet1!$M$2:$M$8</c:f>
              <c:numCache>
                <c:formatCode>General</c:formatCode>
                <c:ptCount val="7"/>
                <c:pt idx="0">
                  <c:v>5.2695</c:v>
                </c:pt>
                <c:pt idx="1">
                  <c:v>8.3619</c:v>
                </c:pt>
                <c:pt idx="2">
                  <c:v>14.3525</c:v>
                </c:pt>
                <c:pt idx="3">
                  <c:v>12.6982</c:v>
                </c:pt>
                <c:pt idx="4">
                  <c:v>10.8144</c:v>
                </c:pt>
                <c:pt idx="5">
                  <c:v>6.1608</c:v>
                </c:pt>
                <c:pt idx="6">
                  <c:v>9.1038</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3CT</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Schick</c:v>
                </c:pt>
                <c:pt idx="1">
                  <c:v>Equate</c:v>
                </c:pt>
                <c:pt idx="2">
                  <c:v>Cremo</c:v>
                </c:pt>
                <c:pt idx="3">
                  <c:v>Gillette</c:v>
                </c:pt>
                <c:pt idx="4">
                  <c:v>Harry's</c:v>
                </c:pt>
                <c:pt idx="5">
                  <c:v>Bic</c:v>
                </c:pt>
                <c:pt idx="6">
                  <c:v>Dollar Shave Club</c:v>
                </c:pt>
              </c:strCache>
            </c:strRef>
          </c:cat>
          <c:val>
            <c:numRef>
              <c:f>Sheet1!$N$2:$N$8</c:f>
              <c:numCache>
                <c:formatCode>General</c:formatCode>
                <c:ptCount val="7"/>
                <c:pt idx="0">
                  <c:v>9.9464</c:v>
                </c:pt>
                <c:pt idx="1">
                  <c:v>5.0496</c:v>
                </c:pt>
                <c:pt idx="2">
                  <c:v>9.6875</c:v>
                </c:pt>
                <c:pt idx="3">
                  <c:v>7.3722</c:v>
                </c:pt>
                <c:pt idx="5">
                  <c:v>6.588</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52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chick</c:v>
                </c:pt>
                <c:pt idx="1">
                  <c:v>Equate</c:v>
                </c:pt>
                <c:pt idx="2">
                  <c:v>Cremo</c:v>
                </c:pt>
                <c:pt idx="3">
                  <c:v>Gillette</c:v>
                </c:pt>
                <c:pt idx="4">
                  <c:v>Harry's</c:v>
                </c:pt>
                <c:pt idx="5">
                  <c:v>Bic</c:v>
                </c:pt>
                <c:pt idx="6">
                  <c:v>Dollar Shave Club</c:v>
                </c:pt>
              </c:strCache>
            </c:strRef>
          </c:cat>
          <c:val>
            <c:numRef>
              <c:f>Sheet1!$O$2:$O$8</c:f>
              <c:numCache>
                <c:formatCode>General</c:formatCode>
                <c:ptCount val="7"/>
                <c:pt idx="3">
                  <c:v>31.2642</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5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chick</c:v>
                </c:pt>
                <c:pt idx="1">
                  <c:v>Equate</c:v>
                </c:pt>
                <c:pt idx="2">
                  <c:v>Cremo</c:v>
                </c:pt>
                <c:pt idx="3">
                  <c:v>Gillette</c:v>
                </c:pt>
                <c:pt idx="4">
                  <c:v>Harry's</c:v>
                </c:pt>
                <c:pt idx="5">
                  <c:v>Bic</c:v>
                </c:pt>
                <c:pt idx="6">
                  <c:v>Dollar Shave Club</c:v>
                </c:pt>
              </c:strCache>
            </c:strRef>
          </c:cat>
          <c:val>
            <c:numRef>
              <c:f>Sheet1!$P$2:$P$8</c:f>
              <c:numCache>
                <c:formatCode>General</c:formatCode>
                <c:ptCount val="7"/>
                <c:pt idx="0">
                  <c:v>12.5425</c:v>
                </c:pt>
                <c:pt idx="1">
                  <c:v>1.0016</c:v>
                </c:pt>
                <c:pt idx="2">
                  <c:v>9.5861</c:v>
                </c:pt>
                <c:pt idx="3">
                  <c:v>19.235</c:v>
                </c:pt>
                <c:pt idx="4">
                  <c:v>16.7757</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6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chick</c:v>
                </c:pt>
                <c:pt idx="1">
                  <c:v>Equate</c:v>
                </c:pt>
                <c:pt idx="2">
                  <c:v>Cremo</c:v>
                </c:pt>
                <c:pt idx="3">
                  <c:v>Gillette</c:v>
                </c:pt>
                <c:pt idx="4">
                  <c:v>Harry's</c:v>
                </c:pt>
                <c:pt idx="5">
                  <c:v>Bic</c:v>
                </c:pt>
                <c:pt idx="6">
                  <c:v>Dollar Shave Club</c:v>
                </c:pt>
              </c:strCache>
            </c:strRef>
          </c:cat>
          <c:val>
            <c:numRef>
              <c:f>Sheet1!$Q$2:$Q$8</c:f>
              <c:numCache>
                <c:formatCode>General</c:formatCode>
                <c:ptCount val="7"/>
                <c:pt idx="0">
                  <c:v>15.1917</c:v>
                </c:pt>
                <c:pt idx="3">
                  <c:v>20.0851</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7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chick</c:v>
                </c:pt>
                <c:pt idx="1">
                  <c:v>Equate</c:v>
                </c:pt>
                <c:pt idx="2">
                  <c:v>Cremo</c:v>
                </c:pt>
                <c:pt idx="3">
                  <c:v>Gillette</c:v>
                </c:pt>
                <c:pt idx="4">
                  <c:v>Harry's</c:v>
                </c:pt>
                <c:pt idx="5">
                  <c:v>Bic</c:v>
                </c:pt>
                <c:pt idx="6">
                  <c:v>Dollar Shave Club</c:v>
                </c:pt>
              </c:strCache>
            </c:strRef>
          </c:cat>
          <c:val>
            <c:numRef>
              <c:f>Sheet1!$R$2:$R$8</c:f>
              <c:numCache>
                <c:formatCode>General</c:formatCode>
                <c:ptCount val="7"/>
                <c:pt idx="0">
                  <c:v>5.4197</c:v>
                </c:pt>
                <c:pt idx="3">
                  <c:v>17.24</c:v>
                </c:pt>
                <c:pt idx="5">
                  <c:v>12.2375</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8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chick</c:v>
                </c:pt>
                <c:pt idx="1">
                  <c:v>Equate</c:v>
                </c:pt>
                <c:pt idx="2">
                  <c:v>Cremo</c:v>
                </c:pt>
                <c:pt idx="3">
                  <c:v>Gillette</c:v>
                </c:pt>
                <c:pt idx="4">
                  <c:v>Harry's</c:v>
                </c:pt>
                <c:pt idx="5">
                  <c:v>Bic</c:v>
                </c:pt>
                <c:pt idx="6">
                  <c:v>Dollar Shave Club</c:v>
                </c:pt>
              </c:strCache>
            </c:strRef>
          </c:cat>
          <c:val>
            <c:numRef>
              <c:f>Sheet1!$S$2:$S$8</c:f>
              <c:numCache>
                <c:formatCode>General</c:formatCode>
                <c:ptCount val="7"/>
                <c:pt idx="0">
                  <c:v>11.5114</c:v>
                </c:pt>
                <c:pt idx="1">
                  <c:v>7.8007</c:v>
                </c:pt>
                <c:pt idx="3">
                  <c:v>25.2503</c:v>
                </c:pt>
                <c:pt idx="4">
                  <c:v>16.7352</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9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chick</c:v>
                </c:pt>
                <c:pt idx="1">
                  <c:v>Equate</c:v>
                </c:pt>
                <c:pt idx="2">
                  <c:v>Cremo</c:v>
                </c:pt>
                <c:pt idx="3">
                  <c:v>Gillette</c:v>
                </c:pt>
                <c:pt idx="4">
                  <c:v>Harry's</c:v>
                </c:pt>
                <c:pt idx="5">
                  <c:v>Bic</c:v>
                </c:pt>
                <c:pt idx="6">
                  <c:v>Dollar Shave Club</c:v>
                </c:pt>
              </c:strCache>
            </c:strRef>
          </c:cat>
          <c:val>
            <c:numRef>
              <c:f>Sheet1!$T$2:$T$8</c:f>
              <c:numCache>
                <c:formatCode>General</c:formatCode>
                <c:ptCount val="7"/>
                <c:pt idx="0">
                  <c:v>21.2495</c:v>
                </c:pt>
                <c:pt idx="3">
                  <c:v>28.6685</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Schick</c:v>
                </c:pt>
                <c:pt idx="1">
                  <c:v>Gillette</c:v>
                </c:pt>
                <c:pt idx="2">
                  <c:v>Harry's</c:v>
                </c:pt>
              </c:strCache>
            </c:strRef>
          </c:cat>
          <c:val>
            <c:numRef>
              <c:f>Sheet1!$B$2:$B$4</c:f>
              <c:numCache>
                <c:formatCode>General</c:formatCode>
                <c:ptCount val="3"/>
                <c:pt idx="2">
                  <c:v>23.116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6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Schick</c:v>
                </c:pt>
                <c:pt idx="1">
                  <c:v>Gillette</c:v>
                </c:pt>
                <c:pt idx="2">
                  <c:v>Harry's</c:v>
                </c:pt>
              </c:strCache>
            </c:strRef>
          </c:cat>
          <c:val>
            <c:numRef>
              <c:f>Sheet1!$C$2:$C$4</c:f>
              <c:numCache>
                <c:formatCode>General</c:formatCode>
                <c:ptCount val="3"/>
                <c:pt idx="1">
                  <c:v>39.517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Schick</c:v>
                </c:pt>
                <c:pt idx="1">
                  <c:v>Gillette</c:v>
                </c:pt>
                <c:pt idx="2">
                  <c:v>Harry's</c:v>
                </c:pt>
              </c:strCache>
            </c:strRef>
          </c:cat>
          <c:val>
            <c:numRef>
              <c:f>Sheet1!$D$2:$D$4</c:f>
              <c:numCache>
                <c:formatCode>General</c:formatCode>
                <c:ptCount val="3"/>
                <c:pt idx="1">
                  <c:v>22.171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Schick</c:v>
                </c:pt>
                <c:pt idx="1">
                  <c:v>Gillette</c:v>
                </c:pt>
                <c:pt idx="2">
                  <c:v>Harry's</c:v>
                </c:pt>
              </c:strCache>
            </c:strRef>
          </c:cat>
          <c:val>
            <c:numRef>
              <c:f>Sheet1!$E$2:$E$4</c:f>
              <c:numCache>
                <c:formatCode>General</c:formatCode>
                <c:ptCount val="3"/>
                <c:pt idx="0">
                  <c:v>21.752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2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Schick</c:v>
                </c:pt>
                <c:pt idx="1">
                  <c:v>Gillette</c:v>
                </c:pt>
                <c:pt idx="2">
                  <c:v>Harry's</c:v>
                </c:pt>
              </c:strCache>
            </c:strRef>
          </c:cat>
          <c:val>
            <c:numRef>
              <c:f>Sheet1!$F$2:$F$4</c:f>
              <c:numCache>
                <c:formatCode>General</c:formatCode>
                <c:ptCount val="3"/>
                <c:pt idx="1">
                  <c:v>31.7252</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Equate</c:v>
                </c:pt>
                <c:pt idx="1">
                  <c:v>Schick</c:v>
                </c:pt>
                <c:pt idx="2">
                  <c:v>Cremo</c:v>
                </c:pt>
                <c:pt idx="3">
                  <c:v>Gillette</c:v>
                </c:pt>
                <c:pt idx="4">
                  <c:v>Harry's</c:v>
                </c:pt>
                <c:pt idx="5">
                  <c:v>Bic</c:v>
                </c:pt>
                <c:pt idx="6">
                  <c:v>Dollar Shave Club</c:v>
                </c:pt>
                <c:pt idx="7">
                  <c:v>Van Der Hagen</c:v>
                </c:pt>
                <c:pt idx="8">
                  <c:v>Comfort 3</c:v>
                </c:pt>
              </c:strCache>
            </c:strRef>
          </c:cat>
          <c:val>
            <c:numRef>
              <c:f>Sheet1!$B$2:$B$10</c:f>
              <c:numCache>
                <c:formatCode>General</c:formatCode>
                <c:ptCount val="9"/>
                <c:pt idx="0">
                  <c:v>3.0</c:v>
                </c:pt>
                <c:pt idx="1">
                  <c:v>4.4375</c:v>
                </c:pt>
                <c:pt idx="3">
                  <c:v>11.4547</c:v>
                </c:pt>
                <c:pt idx="5">
                  <c:v>5.8907</c:v>
                </c:pt>
                <c:pt idx="7">
                  <c:v>2.98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Equate</c:v>
                </c:pt>
                <c:pt idx="1">
                  <c:v>Schick</c:v>
                </c:pt>
                <c:pt idx="2">
                  <c:v>Cremo</c:v>
                </c:pt>
                <c:pt idx="3">
                  <c:v>Gillette</c:v>
                </c:pt>
                <c:pt idx="4">
                  <c:v>Harry's</c:v>
                </c:pt>
                <c:pt idx="5">
                  <c:v>Bic</c:v>
                </c:pt>
                <c:pt idx="6">
                  <c:v>Dollar Shave Club</c:v>
                </c:pt>
                <c:pt idx="7">
                  <c:v>Van Der Hagen</c:v>
                </c:pt>
                <c:pt idx="8">
                  <c:v>Comfort 3</c:v>
                </c:pt>
              </c:strCache>
            </c:strRef>
          </c:cat>
          <c:val>
            <c:numRef>
              <c:f>Sheet1!$C$2:$C$10</c:f>
              <c:numCache>
                <c:formatCode>General</c:formatCode>
                <c:ptCount val="9"/>
                <c:pt idx="0">
                  <c:v>2.5242</c:v>
                </c:pt>
                <c:pt idx="1">
                  <c:v>10.5368</c:v>
                </c:pt>
                <c:pt idx="3">
                  <c:v>18.2025</c:v>
                </c:pt>
                <c:pt idx="4">
                  <c:v>23.9633</c:v>
                </c:pt>
                <c:pt idx="5">
                  <c:v>5.185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Equate</c:v>
                </c:pt>
                <c:pt idx="1">
                  <c:v>Schick</c:v>
                </c:pt>
                <c:pt idx="2">
                  <c:v>Cremo</c:v>
                </c:pt>
                <c:pt idx="3">
                  <c:v>Gillette</c:v>
                </c:pt>
                <c:pt idx="4">
                  <c:v>Harry's</c:v>
                </c:pt>
                <c:pt idx="5">
                  <c:v>Bic</c:v>
                </c:pt>
                <c:pt idx="6">
                  <c:v>Dollar Shave Club</c:v>
                </c:pt>
                <c:pt idx="7">
                  <c:v>Van Der Hagen</c:v>
                </c:pt>
                <c:pt idx="8">
                  <c:v>Comfort 3</c:v>
                </c:pt>
              </c:strCache>
            </c:strRef>
          </c:cat>
          <c:val>
            <c:numRef>
              <c:f>Sheet1!$D$2:$D$10</c:f>
              <c:numCache>
                <c:formatCode>General</c:formatCode>
                <c:ptCount val="9"/>
                <c:pt idx="0">
                  <c:v>18.5</c:v>
                </c:pt>
                <c:pt idx="3">
                  <c:v>18.413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7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Equate</c:v>
                </c:pt>
                <c:pt idx="1">
                  <c:v>Schick</c:v>
                </c:pt>
                <c:pt idx="2">
                  <c:v>Cremo</c:v>
                </c:pt>
                <c:pt idx="3">
                  <c:v>Gillette</c:v>
                </c:pt>
                <c:pt idx="4">
                  <c:v>Harry's</c:v>
                </c:pt>
                <c:pt idx="5">
                  <c:v>Bic</c:v>
                </c:pt>
                <c:pt idx="6">
                  <c:v>Dollar Shave Club</c:v>
                </c:pt>
                <c:pt idx="7">
                  <c:v>Van Der Hagen</c:v>
                </c:pt>
                <c:pt idx="8">
                  <c:v>Comfort 3</c:v>
                </c:pt>
              </c:strCache>
            </c:strRef>
          </c:cat>
          <c:val>
            <c:numRef>
              <c:f>Sheet1!$E$2:$E$10</c:f>
              <c:numCache>
                <c:formatCode>General</c:formatCode>
                <c:ptCount val="9"/>
                <c:pt idx="1">
                  <c:v>15.0</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Equate</c:v>
                </c:pt>
                <c:pt idx="1">
                  <c:v>Schick</c:v>
                </c:pt>
                <c:pt idx="2">
                  <c:v>Cremo</c:v>
                </c:pt>
                <c:pt idx="3">
                  <c:v>Gillette</c:v>
                </c:pt>
                <c:pt idx="4">
                  <c:v>Harry's</c:v>
                </c:pt>
                <c:pt idx="5">
                  <c:v>Bic</c:v>
                </c:pt>
                <c:pt idx="6">
                  <c:v>Dollar Shave Club</c:v>
                </c:pt>
                <c:pt idx="7">
                  <c:v>Van Der Hagen</c:v>
                </c:pt>
                <c:pt idx="8">
                  <c:v>Comfort 3</c:v>
                </c:pt>
              </c:strCache>
            </c:strRef>
          </c:cat>
          <c:val>
            <c:numRef>
              <c:f>Sheet1!$F$2:$F$10</c:f>
              <c:numCache>
                <c:formatCode>General</c:formatCode>
                <c:ptCount val="9"/>
                <c:pt idx="3">
                  <c:v>14.992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Equate</c:v>
                </c:pt>
                <c:pt idx="1">
                  <c:v>Schick</c:v>
                </c:pt>
                <c:pt idx="2">
                  <c:v>Cremo</c:v>
                </c:pt>
                <c:pt idx="3">
                  <c:v>Gillette</c:v>
                </c:pt>
                <c:pt idx="4">
                  <c:v>Harry's</c:v>
                </c:pt>
                <c:pt idx="5">
                  <c:v>Bic</c:v>
                </c:pt>
                <c:pt idx="6">
                  <c:v>Dollar Shave Club</c:v>
                </c:pt>
                <c:pt idx="7">
                  <c:v>Van Der Hagen</c:v>
                </c:pt>
                <c:pt idx="8">
                  <c:v>Comfort 3</c:v>
                </c:pt>
              </c:strCache>
            </c:strRef>
          </c:cat>
          <c:val>
            <c:numRef>
              <c:f>Sheet1!$G$2:$G$10</c:f>
              <c:numCache>
                <c:formatCode>General</c:formatCode>
                <c:ptCount val="9"/>
                <c:pt idx="0">
                  <c:v>3.5</c:v>
                </c:pt>
                <c:pt idx="1">
                  <c:v>0.8098</c:v>
                </c:pt>
                <c:pt idx="3">
                  <c:v>14.111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0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Equate</c:v>
                </c:pt>
                <c:pt idx="1">
                  <c:v>Schick</c:v>
                </c:pt>
                <c:pt idx="2">
                  <c:v>Cremo</c:v>
                </c:pt>
                <c:pt idx="3">
                  <c:v>Gillette</c:v>
                </c:pt>
                <c:pt idx="4">
                  <c:v>Harry's</c:v>
                </c:pt>
                <c:pt idx="5">
                  <c:v>Bic</c:v>
                </c:pt>
                <c:pt idx="6">
                  <c:v>Dollar Shave Club</c:v>
                </c:pt>
                <c:pt idx="7">
                  <c:v>Van Der Hagen</c:v>
                </c:pt>
                <c:pt idx="8">
                  <c:v>Comfort 3</c:v>
                </c:pt>
              </c:strCache>
            </c:strRef>
          </c:cat>
          <c:val>
            <c:numRef>
              <c:f>Sheet1!$H$2:$H$10</c:f>
              <c:numCache>
                <c:formatCode>General</c:formatCode>
                <c:ptCount val="9"/>
                <c:pt idx="1">
                  <c:v>25.0</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1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Equate</c:v>
                </c:pt>
                <c:pt idx="1">
                  <c:v>Schick</c:v>
                </c:pt>
                <c:pt idx="2">
                  <c:v>Cremo</c:v>
                </c:pt>
                <c:pt idx="3">
                  <c:v>Gillette</c:v>
                </c:pt>
                <c:pt idx="4">
                  <c:v>Harry's</c:v>
                </c:pt>
                <c:pt idx="5">
                  <c:v>Bic</c:v>
                </c:pt>
                <c:pt idx="6">
                  <c:v>Dollar Shave Club</c:v>
                </c:pt>
                <c:pt idx="7">
                  <c:v>Van Der Hagen</c:v>
                </c:pt>
                <c:pt idx="8">
                  <c:v>Comfort 3</c:v>
                </c:pt>
              </c:strCache>
            </c:strRef>
          </c:cat>
          <c:val>
            <c:numRef>
              <c:f>Sheet1!$I$2:$I$10</c:f>
              <c:numCache>
                <c:formatCode>General</c:formatCode>
                <c:ptCount val="9"/>
                <c:pt idx="3">
                  <c:v>20.06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5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Equate</c:v>
                </c:pt>
                <c:pt idx="1">
                  <c:v>Schick</c:v>
                </c:pt>
                <c:pt idx="2">
                  <c:v>Cremo</c:v>
                </c:pt>
                <c:pt idx="3">
                  <c:v>Gillette</c:v>
                </c:pt>
                <c:pt idx="4">
                  <c:v>Harry's</c:v>
                </c:pt>
                <c:pt idx="5">
                  <c:v>Bic</c:v>
                </c:pt>
                <c:pt idx="6">
                  <c:v>Dollar Shave Club</c:v>
                </c:pt>
                <c:pt idx="7">
                  <c:v>Van Der Hagen</c:v>
                </c:pt>
                <c:pt idx="8">
                  <c:v>Comfort 3</c:v>
                </c:pt>
              </c:strCache>
            </c:strRef>
          </c:cat>
          <c:val>
            <c:numRef>
              <c:f>Sheet1!$J$2:$J$10</c:f>
              <c:numCache>
                <c:formatCode>General</c:formatCode>
                <c:ptCount val="9"/>
                <c:pt idx="3">
                  <c:v>19.9609</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Equate</c:v>
                </c:pt>
                <c:pt idx="1">
                  <c:v>Schick</c:v>
                </c:pt>
                <c:pt idx="2">
                  <c:v>Cremo</c:v>
                </c:pt>
                <c:pt idx="3">
                  <c:v>Gillette</c:v>
                </c:pt>
                <c:pt idx="4">
                  <c:v>Harry's</c:v>
                </c:pt>
                <c:pt idx="5">
                  <c:v>Bic</c:v>
                </c:pt>
                <c:pt idx="6">
                  <c:v>Dollar Shave Club</c:v>
                </c:pt>
                <c:pt idx="7">
                  <c:v>Van Der Hagen</c:v>
                </c:pt>
                <c:pt idx="8">
                  <c:v>Comfort 3</c:v>
                </c:pt>
              </c:strCache>
            </c:strRef>
          </c:cat>
          <c:val>
            <c:numRef>
              <c:f>Sheet1!$K$2:$K$10</c:f>
              <c:numCache>
                <c:formatCode>General</c:formatCode>
                <c:ptCount val="9"/>
                <c:pt idx="0">
                  <c:v>8.4007</c:v>
                </c:pt>
                <c:pt idx="1">
                  <c:v>4.3127</c:v>
                </c:pt>
                <c:pt idx="2">
                  <c:v>14.8057</c:v>
                </c:pt>
                <c:pt idx="3">
                  <c:v>12.2647</c:v>
                </c:pt>
                <c:pt idx="4">
                  <c:v>11.0337</c:v>
                </c:pt>
                <c:pt idx="5">
                  <c:v>6.0477</c:v>
                </c:pt>
                <c:pt idx="6">
                  <c:v>8.9645</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3CT</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Equate</c:v>
                </c:pt>
                <c:pt idx="1">
                  <c:v>Schick</c:v>
                </c:pt>
                <c:pt idx="2">
                  <c:v>Cremo</c:v>
                </c:pt>
                <c:pt idx="3">
                  <c:v>Gillette</c:v>
                </c:pt>
                <c:pt idx="4">
                  <c:v>Harry's</c:v>
                </c:pt>
                <c:pt idx="5">
                  <c:v>Bic</c:v>
                </c:pt>
                <c:pt idx="6">
                  <c:v>Dollar Shave Club</c:v>
                </c:pt>
                <c:pt idx="7">
                  <c:v>Van Der Hagen</c:v>
                </c:pt>
                <c:pt idx="8">
                  <c:v>Comfort 3</c:v>
                </c:pt>
              </c:strCache>
            </c:strRef>
          </c:cat>
          <c:val>
            <c:numRef>
              <c:f>Sheet1!$L$2:$L$10</c:f>
              <c:numCache>
                <c:formatCode>General</c:formatCode>
                <c:ptCount val="9"/>
                <c:pt idx="0">
                  <c:v>5.0484</c:v>
                </c:pt>
                <c:pt idx="1">
                  <c:v>9.59</c:v>
                </c:pt>
                <c:pt idx="3">
                  <c:v>7.3235</c:v>
                </c:pt>
                <c:pt idx="5">
                  <c:v>6.4175</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5CT</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Equate</c:v>
                </c:pt>
                <c:pt idx="1">
                  <c:v>Schick</c:v>
                </c:pt>
                <c:pt idx="2">
                  <c:v>Cremo</c:v>
                </c:pt>
                <c:pt idx="3">
                  <c:v>Gillette</c:v>
                </c:pt>
                <c:pt idx="4">
                  <c:v>Harry's</c:v>
                </c:pt>
                <c:pt idx="5">
                  <c:v>Bic</c:v>
                </c:pt>
                <c:pt idx="6">
                  <c:v>Dollar Shave Club</c:v>
                </c:pt>
                <c:pt idx="7">
                  <c:v>Van Der Hagen</c:v>
                </c:pt>
                <c:pt idx="8">
                  <c:v>Comfort 3</c:v>
                </c:pt>
              </c:strCache>
            </c:strRef>
          </c:cat>
          <c:val>
            <c:numRef>
              <c:f>Sheet1!$M$2:$M$10</c:f>
              <c:numCache>
                <c:formatCode>General</c:formatCode>
                <c:ptCount val="9"/>
                <c:pt idx="0">
                  <c:v>1.0034</c:v>
                </c:pt>
                <c:pt idx="1">
                  <c:v>8.3451</c:v>
                </c:pt>
                <c:pt idx="3">
                  <c:v>23.4326</c:v>
                </c:pt>
                <c:pt idx="4">
                  <c:v>16.1881</c:v>
                </c:pt>
                <c:pt idx="7">
                  <c:v>17.9171</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6CT</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Equate</c:v>
                </c:pt>
                <c:pt idx="1">
                  <c:v>Schick</c:v>
                </c:pt>
                <c:pt idx="2">
                  <c:v>Cremo</c:v>
                </c:pt>
                <c:pt idx="3">
                  <c:v>Gillette</c:v>
                </c:pt>
                <c:pt idx="4">
                  <c:v>Harry's</c:v>
                </c:pt>
                <c:pt idx="5">
                  <c:v>Bic</c:v>
                </c:pt>
                <c:pt idx="6">
                  <c:v>Dollar Shave Club</c:v>
                </c:pt>
                <c:pt idx="7">
                  <c:v>Van Der Hagen</c:v>
                </c:pt>
                <c:pt idx="8">
                  <c:v>Comfort 3</c:v>
                </c:pt>
              </c:strCache>
            </c:strRef>
          </c:cat>
          <c:val>
            <c:numRef>
              <c:f>Sheet1!$N$2:$N$10</c:f>
              <c:numCache>
                <c:formatCode>General</c:formatCode>
                <c:ptCount val="9"/>
                <c:pt idx="1">
                  <c:v>14.5892</c:v>
                </c:pt>
                <c:pt idx="3">
                  <c:v>19.9968</c:v>
                </c:pt>
                <c:pt idx="8">
                  <c:v>6.047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7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Equate</c:v>
                </c:pt>
                <c:pt idx="1">
                  <c:v>Schick</c:v>
                </c:pt>
                <c:pt idx="2">
                  <c:v>Cremo</c:v>
                </c:pt>
                <c:pt idx="3">
                  <c:v>Gillette</c:v>
                </c:pt>
                <c:pt idx="4">
                  <c:v>Harry's</c:v>
                </c:pt>
                <c:pt idx="5">
                  <c:v>Bic</c:v>
                </c:pt>
                <c:pt idx="6">
                  <c:v>Dollar Shave Club</c:v>
                </c:pt>
                <c:pt idx="7">
                  <c:v>Van Der Hagen</c:v>
                </c:pt>
                <c:pt idx="8">
                  <c:v>Comfort 3</c:v>
                </c:pt>
              </c:strCache>
            </c:strRef>
          </c:cat>
          <c:val>
            <c:numRef>
              <c:f>Sheet1!$O$2:$O$10</c:f>
              <c:numCache>
                <c:formatCode>General</c:formatCode>
                <c:ptCount val="9"/>
                <c:pt idx="1">
                  <c:v>4.0</c:v>
                </c:pt>
                <c:pt idx="3">
                  <c:v>25.356</c:v>
                </c:pt>
                <c:pt idx="5">
                  <c:v>12.1012</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8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Equate</c:v>
                </c:pt>
                <c:pt idx="1">
                  <c:v>Schick</c:v>
                </c:pt>
                <c:pt idx="2">
                  <c:v>Cremo</c:v>
                </c:pt>
                <c:pt idx="3">
                  <c:v>Gillette</c:v>
                </c:pt>
                <c:pt idx="4">
                  <c:v>Harry's</c:v>
                </c:pt>
                <c:pt idx="5">
                  <c:v>Bic</c:v>
                </c:pt>
                <c:pt idx="6">
                  <c:v>Dollar Shave Club</c:v>
                </c:pt>
                <c:pt idx="7">
                  <c:v>Van Der Hagen</c:v>
                </c:pt>
                <c:pt idx="8">
                  <c:v>Comfort 3</c:v>
                </c:pt>
              </c:strCache>
            </c:strRef>
          </c:cat>
          <c:val>
            <c:numRef>
              <c:f>Sheet1!$P$2:$P$10</c:f>
              <c:numCache>
                <c:formatCode>General</c:formatCode>
                <c:ptCount val="9"/>
                <c:pt idx="0">
                  <c:v>7.8026</c:v>
                </c:pt>
                <c:pt idx="4">
                  <c:v>16.609</c:v>
                </c:pt>
                <c:pt idx="6">
                  <c:v>16.9131</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Schick</c:v>
                </c:pt>
                <c:pt idx="1">
                  <c:v>Equate</c:v>
                </c:pt>
                <c:pt idx="2">
                  <c:v>Cremo</c:v>
                </c:pt>
                <c:pt idx="3">
                  <c:v>Gillette</c:v>
                </c:pt>
                <c:pt idx="4">
                  <c:v>Harry's</c:v>
                </c:pt>
                <c:pt idx="5">
                  <c:v>Bic</c:v>
                </c:pt>
                <c:pt idx="6">
                  <c:v>Dollar Shave Club</c:v>
                </c:pt>
                <c:pt idx="7">
                  <c:v>Comfort 3</c:v>
                </c:pt>
              </c:strCache>
            </c:strRef>
          </c:cat>
          <c:val>
            <c:numRef>
              <c:f>Sheet1!$B$2:$B$9</c:f>
              <c:numCache>
                <c:formatCode>General</c:formatCode>
                <c:ptCount val="8"/>
                <c:pt idx="1">
                  <c:v>3.0</c:v>
                </c:pt>
                <c:pt idx="3">
                  <c:v>27.019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Schick</c:v>
                </c:pt>
                <c:pt idx="1">
                  <c:v>Equate</c:v>
                </c:pt>
                <c:pt idx="2">
                  <c:v>Cremo</c:v>
                </c:pt>
                <c:pt idx="3">
                  <c:v>Gillette</c:v>
                </c:pt>
                <c:pt idx="4">
                  <c:v>Harry's</c:v>
                </c:pt>
                <c:pt idx="5">
                  <c:v>Bic</c:v>
                </c:pt>
                <c:pt idx="6">
                  <c:v>Dollar Shave Club</c:v>
                </c:pt>
                <c:pt idx="7">
                  <c:v>Comfort 3</c:v>
                </c:pt>
              </c:strCache>
            </c:strRef>
          </c:cat>
          <c:val>
            <c:numRef>
              <c:f>Sheet1!$C$2:$C$9</c:f>
              <c:numCache>
                <c:formatCode>General</c:formatCode>
                <c:ptCount val="8"/>
                <c:pt idx="0">
                  <c:v>25.8589</c:v>
                </c:pt>
                <c:pt idx="1">
                  <c:v>19.4787</c:v>
                </c:pt>
                <c:pt idx="3">
                  <c:v>39.3748</c:v>
                </c:pt>
                <c:pt idx="4">
                  <c:v>24.325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chick</c:v>
                </c:pt>
                <c:pt idx="1">
                  <c:v>Equate</c:v>
                </c:pt>
                <c:pt idx="2">
                  <c:v>Cremo</c:v>
                </c:pt>
                <c:pt idx="3">
                  <c:v>Gillette</c:v>
                </c:pt>
                <c:pt idx="4">
                  <c:v>Harry's</c:v>
                </c:pt>
                <c:pt idx="5">
                  <c:v>Bic</c:v>
                </c:pt>
                <c:pt idx="6">
                  <c:v>Dollar Shave Club</c:v>
                </c:pt>
                <c:pt idx="7">
                  <c:v>Comfort 3</c:v>
                </c:pt>
              </c:strCache>
            </c:strRef>
          </c:cat>
          <c:val>
            <c:numRef>
              <c:f>Sheet1!$D$2:$D$9</c:f>
              <c:numCache>
                <c:formatCode>General</c:formatCode>
                <c:ptCount val="8"/>
                <c:pt idx="3">
                  <c:v>41.50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chick</c:v>
                </c:pt>
                <c:pt idx="1">
                  <c:v>Equate</c:v>
                </c:pt>
                <c:pt idx="2">
                  <c:v>Cremo</c:v>
                </c:pt>
                <c:pt idx="3">
                  <c:v>Gillette</c:v>
                </c:pt>
                <c:pt idx="4">
                  <c:v>Harry's</c:v>
                </c:pt>
                <c:pt idx="5">
                  <c:v>Bic</c:v>
                </c:pt>
                <c:pt idx="6">
                  <c:v>Dollar Shave Club</c:v>
                </c:pt>
                <c:pt idx="7">
                  <c:v>Comfort 3</c:v>
                </c:pt>
              </c:strCache>
            </c:strRef>
          </c:cat>
          <c:val>
            <c:numRef>
              <c:f>Sheet1!$E$2:$E$9</c:f>
              <c:numCache>
                <c:formatCode>General</c:formatCode>
                <c:ptCount val="8"/>
                <c:pt idx="1">
                  <c:v>18.5</c:v>
                </c:pt>
                <c:pt idx="3">
                  <c:v>35.786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6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Schick</c:v>
                </c:pt>
                <c:pt idx="1">
                  <c:v>Equate</c:v>
                </c:pt>
                <c:pt idx="2">
                  <c:v>Cremo</c:v>
                </c:pt>
                <c:pt idx="3">
                  <c:v>Gillette</c:v>
                </c:pt>
                <c:pt idx="4">
                  <c:v>Harry's</c:v>
                </c:pt>
                <c:pt idx="5">
                  <c:v>Bic</c:v>
                </c:pt>
                <c:pt idx="6">
                  <c:v>Dollar Shave Club</c:v>
                </c:pt>
                <c:pt idx="7">
                  <c:v>Comfort 3</c:v>
                </c:pt>
              </c:strCache>
            </c:strRef>
          </c:cat>
          <c:val>
            <c:numRef>
              <c:f>Sheet1!$F$2:$F$9</c:f>
              <c:numCache>
                <c:formatCode>General</c:formatCode>
                <c:ptCount val="8"/>
                <c:pt idx="0">
                  <c:v>27.5854</c:v>
                </c:pt>
                <c:pt idx="3">
                  <c:v>39.326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7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Schick</c:v>
                </c:pt>
                <c:pt idx="1">
                  <c:v>Equate</c:v>
                </c:pt>
                <c:pt idx="2">
                  <c:v>Cremo</c:v>
                </c:pt>
                <c:pt idx="3">
                  <c:v>Gillette</c:v>
                </c:pt>
                <c:pt idx="4">
                  <c:v>Harry's</c:v>
                </c:pt>
                <c:pt idx="5">
                  <c:v>Bic</c:v>
                </c:pt>
                <c:pt idx="6">
                  <c:v>Dollar Shave Club</c:v>
                </c:pt>
                <c:pt idx="7">
                  <c:v>Comfort 3</c:v>
                </c:pt>
              </c:strCache>
            </c:strRef>
          </c:cat>
          <c:val>
            <c:numRef>
              <c:f>Sheet1!$G$2:$G$9</c:f>
              <c:numCache>
                <c:formatCode>General</c:formatCode>
                <c:ptCount val="8"/>
                <c:pt idx="0">
                  <c:v>36.947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Schick</c:v>
                </c:pt>
                <c:pt idx="1">
                  <c:v>Equate</c:v>
                </c:pt>
                <c:pt idx="2">
                  <c:v>Cremo</c:v>
                </c:pt>
                <c:pt idx="3">
                  <c:v>Gillette</c:v>
                </c:pt>
                <c:pt idx="4">
                  <c:v>Harry's</c:v>
                </c:pt>
                <c:pt idx="5">
                  <c:v>Bic</c:v>
                </c:pt>
                <c:pt idx="6">
                  <c:v>Dollar Shave Club</c:v>
                </c:pt>
                <c:pt idx="7">
                  <c:v>Comfort 3</c:v>
                </c:pt>
              </c:strCache>
            </c:strRef>
          </c:cat>
          <c:val>
            <c:numRef>
              <c:f>Sheet1!$H$2:$H$9</c:f>
              <c:numCache>
                <c:formatCode>General</c:formatCode>
                <c:ptCount val="8"/>
                <c:pt idx="0">
                  <c:v>5.4337</c:v>
                </c:pt>
                <c:pt idx="1">
                  <c:v>4.0</c:v>
                </c:pt>
                <c:pt idx="3">
                  <c:v>12.8512</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chick</c:v>
                </c:pt>
                <c:pt idx="1">
                  <c:v>Equate</c:v>
                </c:pt>
                <c:pt idx="2">
                  <c:v>Cremo</c:v>
                </c:pt>
                <c:pt idx="3">
                  <c:v>Gillette</c:v>
                </c:pt>
                <c:pt idx="4">
                  <c:v>Harry's</c:v>
                </c:pt>
                <c:pt idx="5">
                  <c:v>Bic</c:v>
                </c:pt>
                <c:pt idx="6">
                  <c:v>Dollar Shave Club</c:v>
                </c:pt>
                <c:pt idx="7">
                  <c:v>Comfort 3</c:v>
                </c:pt>
              </c:strCache>
            </c:strRef>
          </c:cat>
          <c:val>
            <c:numRef>
              <c:f>Sheet1!$I$2:$I$9</c:f>
              <c:numCache>
                <c:formatCode>General</c:formatCode>
                <c:ptCount val="8"/>
                <c:pt idx="3">
                  <c:v>36.7325</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Schick</c:v>
                </c:pt>
                <c:pt idx="1">
                  <c:v>Equate</c:v>
                </c:pt>
                <c:pt idx="2">
                  <c:v>Cremo</c:v>
                </c:pt>
                <c:pt idx="3">
                  <c:v>Gillette</c:v>
                </c:pt>
                <c:pt idx="4">
                  <c:v>Harry's</c:v>
                </c:pt>
                <c:pt idx="5">
                  <c:v>Bic</c:v>
                </c:pt>
                <c:pt idx="6">
                  <c:v>Dollar Shave Club</c:v>
                </c:pt>
                <c:pt idx="7">
                  <c:v>Comfort 3</c:v>
                </c:pt>
              </c:strCache>
            </c:strRef>
          </c:cat>
          <c:val>
            <c:numRef>
              <c:f>Sheet1!$J$2:$J$9</c:f>
              <c:numCache>
                <c:formatCode>General</c:formatCode>
                <c:ptCount val="8"/>
                <c:pt idx="0">
                  <c:v>8.7883</c:v>
                </c:pt>
                <c:pt idx="1">
                  <c:v>8.4393</c:v>
                </c:pt>
                <c:pt idx="2">
                  <c:v>14.3525</c:v>
                </c:pt>
                <c:pt idx="3">
                  <c:v>13.1659</c:v>
                </c:pt>
                <c:pt idx="4">
                  <c:v>10.8144</c:v>
                </c:pt>
                <c:pt idx="6">
                  <c:v>9.103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3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Schick</c:v>
                </c:pt>
                <c:pt idx="1">
                  <c:v>Equate</c:v>
                </c:pt>
                <c:pt idx="2">
                  <c:v>Cremo</c:v>
                </c:pt>
                <c:pt idx="3">
                  <c:v>Gillette</c:v>
                </c:pt>
                <c:pt idx="4">
                  <c:v>Harry's</c:v>
                </c:pt>
                <c:pt idx="5">
                  <c:v>Bic</c:v>
                </c:pt>
                <c:pt idx="6">
                  <c:v>Dollar Shave Club</c:v>
                </c:pt>
                <c:pt idx="7">
                  <c:v>Comfort 3</c:v>
                </c:pt>
              </c:strCache>
            </c:strRef>
          </c:cat>
          <c:val>
            <c:numRef>
              <c:f>Sheet1!$K$2:$K$9</c:f>
              <c:numCache>
                <c:formatCode>General</c:formatCode>
                <c:ptCount val="8"/>
                <c:pt idx="0">
                  <c:v>10.1699</c:v>
                </c:pt>
                <c:pt idx="2">
                  <c:v>9.6875</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5CT</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chick</c:v>
                </c:pt>
                <c:pt idx="1">
                  <c:v>Equate</c:v>
                </c:pt>
                <c:pt idx="2">
                  <c:v>Cremo</c:v>
                </c:pt>
                <c:pt idx="3">
                  <c:v>Gillette</c:v>
                </c:pt>
                <c:pt idx="4">
                  <c:v>Harry's</c:v>
                </c:pt>
                <c:pt idx="5">
                  <c:v>Bic</c:v>
                </c:pt>
                <c:pt idx="6">
                  <c:v>Dollar Shave Club</c:v>
                </c:pt>
                <c:pt idx="7">
                  <c:v>Comfort 3</c:v>
                </c:pt>
              </c:strCache>
            </c:strRef>
          </c:cat>
          <c:val>
            <c:numRef>
              <c:f>Sheet1!$L$2:$L$9</c:f>
              <c:numCache>
                <c:formatCode>General</c:formatCode>
                <c:ptCount val="8"/>
                <c:pt idx="0">
                  <c:v>12.5425</c:v>
                </c:pt>
                <c:pt idx="1">
                  <c:v>5.4</c:v>
                </c:pt>
                <c:pt idx="2">
                  <c:v>9.5861</c:v>
                </c:pt>
                <c:pt idx="3">
                  <c:v>23.4824</c:v>
                </c:pt>
                <c:pt idx="4">
                  <c:v>16.7757</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6CT</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Schick</c:v>
                </c:pt>
                <c:pt idx="1">
                  <c:v>Equate</c:v>
                </c:pt>
                <c:pt idx="2">
                  <c:v>Cremo</c:v>
                </c:pt>
                <c:pt idx="3">
                  <c:v>Gillette</c:v>
                </c:pt>
                <c:pt idx="4">
                  <c:v>Harry's</c:v>
                </c:pt>
                <c:pt idx="5">
                  <c:v>Bic</c:v>
                </c:pt>
                <c:pt idx="6">
                  <c:v>Dollar Shave Club</c:v>
                </c:pt>
                <c:pt idx="7">
                  <c:v>Comfort 3</c:v>
                </c:pt>
              </c:strCache>
            </c:strRef>
          </c:cat>
          <c:val>
            <c:numRef>
              <c:f>Sheet1!$M$2:$M$9</c:f>
              <c:numCache>
                <c:formatCode>General</c:formatCode>
                <c:ptCount val="8"/>
                <c:pt idx="0">
                  <c:v>15.194</c:v>
                </c:pt>
                <c:pt idx="3">
                  <c:v>22.3148</c:v>
                </c:pt>
                <c:pt idx="7">
                  <c:v>6.5097</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7CT</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Schick</c:v>
                </c:pt>
                <c:pt idx="1">
                  <c:v>Equate</c:v>
                </c:pt>
                <c:pt idx="2">
                  <c:v>Cremo</c:v>
                </c:pt>
                <c:pt idx="3">
                  <c:v>Gillette</c:v>
                </c:pt>
                <c:pt idx="4">
                  <c:v>Harry's</c:v>
                </c:pt>
                <c:pt idx="5">
                  <c:v>Bic</c:v>
                </c:pt>
                <c:pt idx="6">
                  <c:v>Dollar Shave Club</c:v>
                </c:pt>
                <c:pt idx="7">
                  <c:v>Comfort 3</c:v>
                </c:pt>
              </c:strCache>
            </c:strRef>
          </c:cat>
          <c:val>
            <c:numRef>
              <c:f>Sheet1!$N$2:$N$9</c:f>
              <c:numCache>
                <c:formatCode>General</c:formatCode>
                <c:ptCount val="8"/>
                <c:pt idx="0">
                  <c:v>5.4197</c:v>
                </c:pt>
                <c:pt idx="5">
                  <c:v>12.2127</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8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chick</c:v>
                </c:pt>
                <c:pt idx="1">
                  <c:v>Equate</c:v>
                </c:pt>
                <c:pt idx="2">
                  <c:v>Cremo</c:v>
                </c:pt>
                <c:pt idx="3">
                  <c:v>Gillette</c:v>
                </c:pt>
                <c:pt idx="4">
                  <c:v>Harry's</c:v>
                </c:pt>
                <c:pt idx="5">
                  <c:v>Bic</c:v>
                </c:pt>
                <c:pt idx="6">
                  <c:v>Dollar Shave Club</c:v>
                </c:pt>
                <c:pt idx="7">
                  <c:v>Comfort 3</c:v>
                </c:pt>
              </c:strCache>
            </c:strRef>
          </c:cat>
          <c:val>
            <c:numRef>
              <c:f>Sheet1!$O$2:$O$9</c:f>
              <c:numCache>
                <c:formatCode>General</c:formatCode>
                <c:ptCount val="8"/>
                <c:pt idx="0">
                  <c:v>13.0096</c:v>
                </c:pt>
                <c:pt idx="1">
                  <c:v>15.2905</c:v>
                </c:pt>
                <c:pt idx="3">
                  <c:v>29.7106</c:v>
                </c:pt>
                <c:pt idx="4">
                  <c:v>17.1079</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9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chick</c:v>
                </c:pt>
                <c:pt idx="1">
                  <c:v>Equate</c:v>
                </c:pt>
                <c:pt idx="2">
                  <c:v>Cremo</c:v>
                </c:pt>
                <c:pt idx="3">
                  <c:v>Gillette</c:v>
                </c:pt>
                <c:pt idx="4">
                  <c:v>Harry's</c:v>
                </c:pt>
                <c:pt idx="5">
                  <c:v>Bic</c:v>
                </c:pt>
                <c:pt idx="6">
                  <c:v>Dollar Shave Club</c:v>
                </c:pt>
                <c:pt idx="7">
                  <c:v>Comfort 3</c:v>
                </c:pt>
              </c:strCache>
            </c:strRef>
          </c:cat>
          <c:val>
            <c:numRef>
              <c:f>Sheet1!$P$2:$P$9</c:f>
              <c:numCache>
                <c:formatCode>General</c:formatCode>
                <c:ptCount val="8"/>
                <c:pt idx="3">
                  <c:v>31.7474</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Schick</c:v>
                </c:pt>
                <c:pt idx="1">
                  <c:v>Equate</c:v>
                </c:pt>
                <c:pt idx="2">
                  <c:v>Cremo</c:v>
                </c:pt>
                <c:pt idx="3">
                  <c:v>Gillette</c:v>
                </c:pt>
                <c:pt idx="4">
                  <c:v>Harry's</c:v>
                </c:pt>
                <c:pt idx="5">
                  <c:v>Bic</c:v>
                </c:pt>
                <c:pt idx="6">
                  <c:v>Dollar Shave Club</c:v>
                </c:pt>
                <c:pt idx="7">
                  <c:v>Van Der Hagen</c:v>
                </c:pt>
                <c:pt idx="8">
                  <c:v>Comfort 3</c:v>
                </c:pt>
              </c:strCache>
            </c:strRef>
          </c:cat>
          <c:val>
            <c:numRef>
              <c:f>Sheet1!$B$2:$B$10</c:f>
              <c:numCache>
                <c:formatCode>General</c:formatCode>
                <c:ptCount val="9"/>
                <c:pt idx="1">
                  <c:v>3.0</c:v>
                </c:pt>
                <c:pt idx="3">
                  <c:v>26.2105</c:v>
                </c:pt>
                <c:pt idx="7">
                  <c:v>2.98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Schick</c:v>
                </c:pt>
                <c:pt idx="1">
                  <c:v>Equate</c:v>
                </c:pt>
                <c:pt idx="2">
                  <c:v>Cremo</c:v>
                </c:pt>
                <c:pt idx="3">
                  <c:v>Gillette</c:v>
                </c:pt>
                <c:pt idx="4">
                  <c:v>Harry's</c:v>
                </c:pt>
                <c:pt idx="5">
                  <c:v>Bic</c:v>
                </c:pt>
                <c:pt idx="6">
                  <c:v>Dollar Shave Club</c:v>
                </c:pt>
                <c:pt idx="7">
                  <c:v>Van Der Hagen</c:v>
                </c:pt>
                <c:pt idx="8">
                  <c:v>Comfort 3</c:v>
                </c:pt>
              </c:strCache>
            </c:strRef>
          </c:cat>
          <c:val>
            <c:numRef>
              <c:f>Sheet1!$C$2:$C$10</c:f>
              <c:numCache>
                <c:formatCode>General</c:formatCode>
                <c:ptCount val="9"/>
                <c:pt idx="0">
                  <c:v>26.197</c:v>
                </c:pt>
                <c:pt idx="1">
                  <c:v>19.48</c:v>
                </c:pt>
                <c:pt idx="3">
                  <c:v>36.667</c:v>
                </c:pt>
                <c:pt idx="4">
                  <c:v>23.9633</c:v>
                </c:pt>
                <c:pt idx="5">
                  <c:v>19.8873</c:v>
                </c:pt>
                <c:pt idx="8">
                  <c:v>10.917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Schick</c:v>
                </c:pt>
                <c:pt idx="1">
                  <c:v>Equate</c:v>
                </c:pt>
                <c:pt idx="2">
                  <c:v>Cremo</c:v>
                </c:pt>
                <c:pt idx="3">
                  <c:v>Gillette</c:v>
                </c:pt>
                <c:pt idx="4">
                  <c:v>Harry's</c:v>
                </c:pt>
                <c:pt idx="5">
                  <c:v>Bic</c:v>
                </c:pt>
                <c:pt idx="6">
                  <c:v>Dollar Shave Club</c:v>
                </c:pt>
                <c:pt idx="7">
                  <c:v>Van Der Hagen</c:v>
                </c:pt>
                <c:pt idx="8">
                  <c:v>Comfort 3</c:v>
                </c:pt>
              </c:strCache>
            </c:strRef>
          </c:cat>
          <c:val>
            <c:numRef>
              <c:f>Sheet1!$D$2:$D$10</c:f>
              <c:numCache>
                <c:formatCode>General</c:formatCode>
                <c:ptCount val="9"/>
                <c:pt idx="1">
                  <c:v>18.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7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Schick</c:v>
                </c:pt>
                <c:pt idx="1">
                  <c:v>Equate</c:v>
                </c:pt>
                <c:pt idx="2">
                  <c:v>Cremo</c:v>
                </c:pt>
                <c:pt idx="3">
                  <c:v>Gillette</c:v>
                </c:pt>
                <c:pt idx="4">
                  <c:v>Harry's</c:v>
                </c:pt>
                <c:pt idx="5">
                  <c:v>Bic</c:v>
                </c:pt>
                <c:pt idx="6">
                  <c:v>Dollar Shave Club</c:v>
                </c:pt>
                <c:pt idx="7">
                  <c:v>Van Der Hagen</c:v>
                </c:pt>
                <c:pt idx="8">
                  <c:v>Comfort 3</c:v>
                </c:pt>
              </c:strCache>
            </c:strRef>
          </c:cat>
          <c:val>
            <c:numRef>
              <c:f>Sheet1!$E$2:$E$10</c:f>
              <c:numCache>
                <c:formatCode>General</c:formatCode>
                <c:ptCount val="9"/>
                <c:pt idx="0">
                  <c:v>15.0</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Schick</c:v>
                </c:pt>
                <c:pt idx="1">
                  <c:v>Equate</c:v>
                </c:pt>
                <c:pt idx="2">
                  <c:v>Cremo</c:v>
                </c:pt>
                <c:pt idx="3">
                  <c:v>Gillette</c:v>
                </c:pt>
                <c:pt idx="4">
                  <c:v>Harry's</c:v>
                </c:pt>
                <c:pt idx="5">
                  <c:v>Bic</c:v>
                </c:pt>
                <c:pt idx="6">
                  <c:v>Dollar Shave Club</c:v>
                </c:pt>
                <c:pt idx="7">
                  <c:v>Van Der Hagen</c:v>
                </c:pt>
                <c:pt idx="8">
                  <c:v>Comfort 3</c:v>
                </c:pt>
              </c:strCache>
            </c:strRef>
          </c:cat>
          <c:val>
            <c:numRef>
              <c:f>Sheet1!$F$2:$F$10</c:f>
              <c:numCache>
                <c:formatCode>General</c:formatCode>
                <c:ptCount val="9"/>
                <c:pt idx="0">
                  <c:v>14.0</c:v>
                </c:pt>
                <c:pt idx="1">
                  <c:v>3.5</c:v>
                </c:pt>
                <c:pt idx="3">
                  <c:v>14.483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0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Schick</c:v>
                </c:pt>
                <c:pt idx="1">
                  <c:v>Equate</c:v>
                </c:pt>
                <c:pt idx="2">
                  <c:v>Cremo</c:v>
                </c:pt>
                <c:pt idx="3">
                  <c:v>Gillette</c:v>
                </c:pt>
                <c:pt idx="4">
                  <c:v>Harry's</c:v>
                </c:pt>
                <c:pt idx="5">
                  <c:v>Bic</c:v>
                </c:pt>
                <c:pt idx="6">
                  <c:v>Dollar Shave Club</c:v>
                </c:pt>
                <c:pt idx="7">
                  <c:v>Van Der Hagen</c:v>
                </c:pt>
                <c:pt idx="8">
                  <c:v>Comfort 3</c:v>
                </c:pt>
              </c:strCache>
            </c:strRef>
          </c:cat>
          <c:val>
            <c:numRef>
              <c:f>Sheet1!$G$2:$G$10</c:f>
              <c:numCache>
                <c:formatCode>General</c:formatCode>
                <c:ptCount val="9"/>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Schick</c:v>
                </c:pt>
                <c:pt idx="1">
                  <c:v>Equate</c:v>
                </c:pt>
                <c:pt idx="2">
                  <c:v>Cremo</c:v>
                </c:pt>
                <c:pt idx="3">
                  <c:v>Gillette</c:v>
                </c:pt>
                <c:pt idx="4">
                  <c:v>Harry's</c:v>
                </c:pt>
                <c:pt idx="5">
                  <c:v>Bic</c:v>
                </c:pt>
                <c:pt idx="6">
                  <c:v>Dollar Shave Club</c:v>
                </c:pt>
                <c:pt idx="7">
                  <c:v>Van Der Hagen</c:v>
                </c:pt>
                <c:pt idx="8">
                  <c:v>Comfort 3</c:v>
                </c:pt>
              </c:strCache>
            </c:strRef>
          </c:cat>
          <c:val>
            <c:numRef>
              <c:f>Sheet1!$H$2:$H$10</c:f>
              <c:numCache>
                <c:formatCode>General</c:formatCode>
                <c:ptCount val="9"/>
                <c:pt idx="0">
                  <c:v>4.3177</c:v>
                </c:pt>
                <c:pt idx="1">
                  <c:v>8.4401</c:v>
                </c:pt>
                <c:pt idx="2">
                  <c:v>14.8057</c:v>
                </c:pt>
                <c:pt idx="3">
                  <c:v>12.678</c:v>
                </c:pt>
                <c:pt idx="4">
                  <c:v>11.0337</c:v>
                </c:pt>
                <c:pt idx="6">
                  <c:v>8.9645</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Schick</c:v>
                </c:pt>
                <c:pt idx="1">
                  <c:v>Equate</c:v>
                </c:pt>
                <c:pt idx="2">
                  <c:v>Cremo</c:v>
                </c:pt>
                <c:pt idx="3">
                  <c:v>Gillette</c:v>
                </c:pt>
                <c:pt idx="4">
                  <c:v>Harry's</c:v>
                </c:pt>
                <c:pt idx="5">
                  <c:v>Bic</c:v>
                </c:pt>
                <c:pt idx="6">
                  <c:v>Dollar Shave Club</c:v>
                </c:pt>
                <c:pt idx="7">
                  <c:v>Van Der Hagen</c:v>
                </c:pt>
                <c:pt idx="8">
                  <c:v>Comfort 3</c:v>
                </c:pt>
              </c:strCache>
            </c:strRef>
          </c:cat>
          <c:val>
            <c:numRef>
              <c:f>Sheet1!$I$2:$I$10</c:f>
              <c:numCache>
                <c:formatCode>General</c:formatCode>
                <c:ptCount val="9"/>
                <c:pt idx="0">
                  <c:v>9.5902</c:v>
                </c:pt>
                <c:pt idx="3">
                  <c:v>12.6612</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5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Schick</c:v>
                </c:pt>
                <c:pt idx="1">
                  <c:v>Equate</c:v>
                </c:pt>
                <c:pt idx="2">
                  <c:v>Cremo</c:v>
                </c:pt>
                <c:pt idx="3">
                  <c:v>Gillette</c:v>
                </c:pt>
                <c:pt idx="4">
                  <c:v>Harry's</c:v>
                </c:pt>
                <c:pt idx="5">
                  <c:v>Bic</c:v>
                </c:pt>
                <c:pt idx="6">
                  <c:v>Dollar Shave Club</c:v>
                </c:pt>
                <c:pt idx="7">
                  <c:v>Van Der Hagen</c:v>
                </c:pt>
                <c:pt idx="8">
                  <c:v>Comfort 3</c:v>
                </c:pt>
              </c:strCache>
            </c:strRef>
          </c:cat>
          <c:val>
            <c:numRef>
              <c:f>Sheet1!$J$2:$J$10</c:f>
              <c:numCache>
                <c:formatCode>General</c:formatCode>
                <c:ptCount val="9"/>
                <c:pt idx="0">
                  <c:v>8.3451</c:v>
                </c:pt>
                <c:pt idx="1">
                  <c:v>5.4</c:v>
                </c:pt>
                <c:pt idx="3">
                  <c:v>23.4403</c:v>
                </c:pt>
                <c:pt idx="4">
                  <c:v>16.1881</c:v>
                </c:pt>
                <c:pt idx="7">
                  <c:v>17.9171</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6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Schick</c:v>
                </c:pt>
                <c:pt idx="1">
                  <c:v>Equate</c:v>
                </c:pt>
                <c:pt idx="2">
                  <c:v>Cremo</c:v>
                </c:pt>
                <c:pt idx="3">
                  <c:v>Gillette</c:v>
                </c:pt>
                <c:pt idx="4">
                  <c:v>Harry's</c:v>
                </c:pt>
                <c:pt idx="5">
                  <c:v>Bic</c:v>
                </c:pt>
                <c:pt idx="6">
                  <c:v>Dollar Shave Club</c:v>
                </c:pt>
                <c:pt idx="7">
                  <c:v>Van Der Hagen</c:v>
                </c:pt>
                <c:pt idx="8">
                  <c:v>Comfort 3</c:v>
                </c:pt>
              </c:strCache>
            </c:strRef>
          </c:cat>
          <c:val>
            <c:numRef>
              <c:f>Sheet1!$K$2:$K$10</c:f>
              <c:numCache>
                <c:formatCode>General</c:formatCode>
                <c:ptCount val="9"/>
                <c:pt idx="0">
                  <c:v>14.5899</c:v>
                </c:pt>
                <c:pt idx="3">
                  <c:v>22.3567</c:v>
                </c:pt>
                <c:pt idx="8">
                  <c:v>6.0479</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7CT</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Schick</c:v>
                </c:pt>
                <c:pt idx="1">
                  <c:v>Equate</c:v>
                </c:pt>
                <c:pt idx="2">
                  <c:v>Cremo</c:v>
                </c:pt>
                <c:pt idx="3">
                  <c:v>Gillette</c:v>
                </c:pt>
                <c:pt idx="4">
                  <c:v>Harry's</c:v>
                </c:pt>
                <c:pt idx="5">
                  <c:v>Bic</c:v>
                </c:pt>
                <c:pt idx="6">
                  <c:v>Dollar Shave Club</c:v>
                </c:pt>
                <c:pt idx="7">
                  <c:v>Van Der Hagen</c:v>
                </c:pt>
                <c:pt idx="8">
                  <c:v>Comfort 3</c:v>
                </c:pt>
              </c:strCache>
            </c:strRef>
          </c:cat>
          <c:val>
            <c:numRef>
              <c:f>Sheet1!$L$2:$L$10</c:f>
              <c:numCache>
                <c:formatCode>General</c:formatCode>
                <c:ptCount val="9"/>
                <c:pt idx="0">
                  <c:v>4.0</c:v>
                </c:pt>
                <c:pt idx="3">
                  <c:v>28.5356</c:v>
                </c:pt>
                <c:pt idx="5">
                  <c:v>12.0513</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8CT</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Schick</c:v>
                </c:pt>
                <c:pt idx="1">
                  <c:v>Equate</c:v>
                </c:pt>
                <c:pt idx="2">
                  <c:v>Cremo</c:v>
                </c:pt>
                <c:pt idx="3">
                  <c:v>Gillette</c:v>
                </c:pt>
                <c:pt idx="4">
                  <c:v>Harry's</c:v>
                </c:pt>
                <c:pt idx="5">
                  <c:v>Bic</c:v>
                </c:pt>
                <c:pt idx="6">
                  <c:v>Dollar Shave Club</c:v>
                </c:pt>
                <c:pt idx="7">
                  <c:v>Van Der Hagen</c:v>
                </c:pt>
                <c:pt idx="8">
                  <c:v>Comfort 3</c:v>
                </c:pt>
              </c:strCache>
            </c:strRef>
          </c:cat>
          <c:val>
            <c:numRef>
              <c:f>Sheet1!$M$2:$M$10</c:f>
              <c:numCache>
                <c:formatCode>General</c:formatCode>
                <c:ptCount val="9"/>
                <c:pt idx="1">
                  <c:v>15.2946</c:v>
                </c:pt>
                <c:pt idx="6">
                  <c:v>16.9131</c:v>
                </c:pt>
              </c:numCache>
            </c:numRef>
          </c:val>
          <c:smooth val="0"/>
          <c:extLst>
            <c:ext xmlns:c16="http://schemas.microsoft.com/office/drawing/2014/chart" uri="{C3380CC4-5D6E-409C-BE32-E72D297353CC}">
              <c16:uniqueId val="{0000001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Schick</c:v>
                </c:pt>
                <c:pt idx="1">
                  <c:v>Equate</c:v>
                </c:pt>
                <c:pt idx="2">
                  <c:v>Gillette</c:v>
                </c:pt>
                <c:pt idx="3">
                  <c:v>Bic</c:v>
                </c:pt>
                <c:pt idx="4">
                  <c:v>Pbg Pl</c:v>
                </c:pt>
                <c:pt idx="5">
                  <c:v>Private Label</c:v>
                </c:pt>
              </c:strCache>
            </c:strRef>
          </c:cat>
          <c:val>
            <c:numRef>
              <c:f>Sheet1!$B$2:$B$7</c:f>
              <c:numCache>
                <c:formatCode>General</c:formatCode>
                <c:ptCount val="6"/>
                <c:pt idx="0">
                  <c:v>12.5455</c:v>
                </c:pt>
                <c:pt idx="2">
                  <c:v>10.6879</c:v>
                </c:pt>
                <c:pt idx="3">
                  <c:v>4.62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Schick</c:v>
                </c:pt>
                <c:pt idx="1">
                  <c:v>Equate</c:v>
                </c:pt>
                <c:pt idx="2">
                  <c:v>Gillette</c:v>
                </c:pt>
                <c:pt idx="3">
                  <c:v>Bic</c:v>
                </c:pt>
                <c:pt idx="4">
                  <c:v>Pbg Pl</c:v>
                </c:pt>
                <c:pt idx="5">
                  <c:v>Private Label</c:v>
                </c:pt>
              </c:strCache>
            </c:strRef>
          </c:cat>
          <c:val>
            <c:numRef>
              <c:f>Sheet1!$C$2:$C$7</c:f>
              <c:numCache>
                <c:formatCode>General</c:formatCode>
                <c:ptCount val="6"/>
                <c:pt idx="0">
                  <c:v>8.4028</c:v>
                </c:pt>
                <c:pt idx="1">
                  <c:v>2.1772</c:v>
                </c:pt>
                <c:pt idx="2">
                  <c:v>12.5274</c:v>
                </c:pt>
                <c:pt idx="3">
                  <c:v>3.7378</c:v>
                </c:pt>
                <c:pt idx="4">
                  <c:v>3.176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Schick</c:v>
                </c:pt>
                <c:pt idx="1">
                  <c:v>Equate</c:v>
                </c:pt>
                <c:pt idx="2">
                  <c:v>Gillette</c:v>
                </c:pt>
                <c:pt idx="3">
                  <c:v>Bic</c:v>
                </c:pt>
                <c:pt idx="4">
                  <c:v>Pbg Pl</c:v>
                </c:pt>
                <c:pt idx="5">
                  <c:v>Private Label</c:v>
                </c:pt>
              </c:strCache>
            </c:strRef>
          </c:cat>
          <c:val>
            <c:numRef>
              <c:f>Sheet1!$D$2:$D$7</c:f>
              <c:numCache>
                <c:formatCode>General</c:formatCode>
                <c:ptCount val="6"/>
                <c:pt idx="2">
                  <c:v>15.041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Schick</c:v>
                </c:pt>
                <c:pt idx="1">
                  <c:v>Equate</c:v>
                </c:pt>
                <c:pt idx="2">
                  <c:v>Gillette</c:v>
                </c:pt>
                <c:pt idx="3">
                  <c:v>Bic</c:v>
                </c:pt>
                <c:pt idx="4">
                  <c:v>Pbg Pl</c:v>
                </c:pt>
                <c:pt idx="5">
                  <c:v>Private Label</c:v>
                </c:pt>
              </c:strCache>
            </c:strRef>
          </c:cat>
          <c:val>
            <c:numRef>
              <c:f>Sheet1!$E$2:$E$7</c:f>
              <c:numCache>
                <c:formatCode>General</c:formatCode>
                <c:ptCount val="6"/>
                <c:pt idx="2">
                  <c:v>14.895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Schick</c:v>
                </c:pt>
                <c:pt idx="1">
                  <c:v>Equate</c:v>
                </c:pt>
                <c:pt idx="2">
                  <c:v>Gillette</c:v>
                </c:pt>
                <c:pt idx="3">
                  <c:v>Bic</c:v>
                </c:pt>
                <c:pt idx="4">
                  <c:v>Pbg Pl</c:v>
                </c:pt>
                <c:pt idx="5">
                  <c:v>Private Label</c:v>
                </c:pt>
              </c:strCache>
            </c:strRef>
          </c:cat>
          <c:val>
            <c:numRef>
              <c:f>Sheet1!$F$2:$F$7</c:f>
              <c:numCache>
                <c:formatCode>General</c:formatCode>
                <c:ptCount val="6"/>
                <c:pt idx="0">
                  <c:v>2.575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0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Schick</c:v>
                </c:pt>
                <c:pt idx="1">
                  <c:v>Equate</c:v>
                </c:pt>
                <c:pt idx="2">
                  <c:v>Gillette</c:v>
                </c:pt>
                <c:pt idx="3">
                  <c:v>Bic</c:v>
                </c:pt>
                <c:pt idx="4">
                  <c:v>Pbg Pl</c:v>
                </c:pt>
                <c:pt idx="5">
                  <c:v>Private Label</c:v>
                </c:pt>
              </c:strCache>
            </c:strRef>
          </c:cat>
          <c:val>
            <c:numRef>
              <c:f>Sheet1!$G$2:$G$7</c:f>
              <c:numCache>
                <c:formatCode>General</c:formatCode>
                <c:ptCount val="6"/>
                <c:pt idx="0">
                  <c:v>18.1866</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1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Schick</c:v>
                </c:pt>
                <c:pt idx="1">
                  <c:v>Equate</c:v>
                </c:pt>
                <c:pt idx="2">
                  <c:v>Gillette</c:v>
                </c:pt>
                <c:pt idx="3">
                  <c:v>Bic</c:v>
                </c:pt>
                <c:pt idx="4">
                  <c:v>Pbg Pl</c:v>
                </c:pt>
                <c:pt idx="5">
                  <c:v>Private Label</c:v>
                </c:pt>
              </c:strCache>
            </c:strRef>
          </c:cat>
          <c:val>
            <c:numRef>
              <c:f>Sheet1!$H$2:$H$7</c:f>
              <c:numCache>
                <c:formatCode>General</c:formatCode>
                <c:ptCount val="6"/>
                <c:pt idx="2">
                  <c:v>20.5309</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4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Schick</c:v>
                </c:pt>
                <c:pt idx="1">
                  <c:v>Equate</c:v>
                </c:pt>
                <c:pt idx="2">
                  <c:v>Gillette</c:v>
                </c:pt>
                <c:pt idx="3">
                  <c:v>Bic</c:v>
                </c:pt>
                <c:pt idx="4">
                  <c:v>Pbg Pl</c:v>
                </c:pt>
                <c:pt idx="5">
                  <c:v>Private Label</c:v>
                </c:pt>
              </c:strCache>
            </c:strRef>
          </c:cat>
          <c:val>
            <c:numRef>
              <c:f>Sheet1!$I$2:$I$7</c:f>
              <c:numCache>
                <c:formatCode>General</c:formatCode>
                <c:ptCount val="6"/>
                <c:pt idx="2">
                  <c:v>22.2881</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5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Schick</c:v>
                </c:pt>
                <c:pt idx="1">
                  <c:v>Equate</c:v>
                </c:pt>
                <c:pt idx="2">
                  <c:v>Gillette</c:v>
                </c:pt>
                <c:pt idx="3">
                  <c:v>Bic</c:v>
                </c:pt>
                <c:pt idx="4">
                  <c:v>Pbg Pl</c:v>
                </c:pt>
                <c:pt idx="5">
                  <c:v>Private Label</c:v>
                </c:pt>
              </c:strCache>
            </c:strRef>
          </c:cat>
          <c:val>
            <c:numRef>
              <c:f>Sheet1!$J$2:$J$7</c:f>
              <c:numCache>
                <c:formatCode>General</c:formatCode>
                <c:ptCount val="6"/>
                <c:pt idx="0">
                  <c:v>21.7178</c:v>
                </c:pt>
                <c:pt idx="2">
                  <c:v>20.5813</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Schick</c:v>
                </c:pt>
                <c:pt idx="1">
                  <c:v>Equate</c:v>
                </c:pt>
                <c:pt idx="2">
                  <c:v>Gillette</c:v>
                </c:pt>
                <c:pt idx="3">
                  <c:v>Bic</c:v>
                </c:pt>
                <c:pt idx="4">
                  <c:v>Pbg Pl</c:v>
                </c:pt>
                <c:pt idx="5">
                  <c:v>Private Label</c:v>
                </c:pt>
              </c:strCache>
            </c:strRef>
          </c:cat>
          <c:val>
            <c:numRef>
              <c:f>Sheet1!$K$2:$K$7</c:f>
              <c:numCache>
                <c:formatCode>General</c:formatCode>
                <c:ptCount val="6"/>
                <c:pt idx="0">
                  <c:v>2.9434</c:v>
                </c:pt>
                <c:pt idx="1">
                  <c:v>2.1102</c:v>
                </c:pt>
                <c:pt idx="2">
                  <c:v>10.1918</c:v>
                </c:pt>
                <c:pt idx="3">
                  <c:v>6.1608</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36CT</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Schick</c:v>
                </c:pt>
                <c:pt idx="1">
                  <c:v>Equate</c:v>
                </c:pt>
                <c:pt idx="2">
                  <c:v>Gillette</c:v>
                </c:pt>
                <c:pt idx="3">
                  <c:v>Bic</c:v>
                </c:pt>
                <c:pt idx="4">
                  <c:v>Pbg Pl</c:v>
                </c:pt>
                <c:pt idx="5">
                  <c:v>Private Label</c:v>
                </c:pt>
              </c:strCache>
            </c:strRef>
          </c:cat>
          <c:val>
            <c:numRef>
              <c:f>Sheet1!$L$2:$L$7</c:f>
              <c:numCache>
                <c:formatCode>General</c:formatCode>
                <c:ptCount val="6"/>
                <c:pt idx="2">
                  <c:v>28.8828</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3CT</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Schick</c:v>
                </c:pt>
                <c:pt idx="1">
                  <c:v>Equate</c:v>
                </c:pt>
                <c:pt idx="2">
                  <c:v>Gillette</c:v>
                </c:pt>
                <c:pt idx="3">
                  <c:v>Bic</c:v>
                </c:pt>
                <c:pt idx="4">
                  <c:v>Pbg Pl</c:v>
                </c:pt>
                <c:pt idx="5">
                  <c:v>Private Label</c:v>
                </c:pt>
              </c:strCache>
            </c:strRef>
          </c:cat>
          <c:val>
            <c:numRef>
              <c:f>Sheet1!$M$2:$M$7</c:f>
              <c:numCache>
                <c:formatCode>General</c:formatCode>
                <c:ptCount val="6"/>
                <c:pt idx="0">
                  <c:v>9.1257</c:v>
                </c:pt>
                <c:pt idx="1">
                  <c:v>5.0496</c:v>
                </c:pt>
                <c:pt idx="2">
                  <c:v>7.1175</c:v>
                </c:pt>
                <c:pt idx="3">
                  <c:v>6.5505</c:v>
                </c:pt>
                <c:pt idx="4">
                  <c:v>5.9912</c:v>
                </c:pt>
                <c:pt idx="5">
                  <c:v>2.0885</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52CT</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Schick</c:v>
                </c:pt>
                <c:pt idx="1">
                  <c:v>Equate</c:v>
                </c:pt>
                <c:pt idx="2">
                  <c:v>Gillette</c:v>
                </c:pt>
                <c:pt idx="3">
                  <c:v>Bic</c:v>
                </c:pt>
                <c:pt idx="4">
                  <c:v>Pbg Pl</c:v>
                </c:pt>
                <c:pt idx="5">
                  <c:v>Private Label</c:v>
                </c:pt>
              </c:strCache>
            </c:strRef>
          </c:cat>
          <c:val>
            <c:numRef>
              <c:f>Sheet1!$N$2:$N$7</c:f>
              <c:numCache>
                <c:formatCode>General</c:formatCode>
                <c:ptCount val="6"/>
                <c:pt idx="2">
                  <c:v>31.2642</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5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Schick</c:v>
                </c:pt>
                <c:pt idx="1">
                  <c:v>Equate</c:v>
                </c:pt>
                <c:pt idx="2">
                  <c:v>Gillette</c:v>
                </c:pt>
                <c:pt idx="3">
                  <c:v>Bic</c:v>
                </c:pt>
                <c:pt idx="4">
                  <c:v>Pbg Pl</c:v>
                </c:pt>
                <c:pt idx="5">
                  <c:v>Private Label</c:v>
                </c:pt>
              </c:strCache>
            </c:strRef>
          </c:cat>
          <c:val>
            <c:numRef>
              <c:f>Sheet1!$O$2:$O$7</c:f>
              <c:numCache>
                <c:formatCode>General</c:formatCode>
                <c:ptCount val="6"/>
                <c:pt idx="1">
                  <c:v>1.0016</c:v>
                </c:pt>
                <c:pt idx="2">
                  <c:v>7.0962</c:v>
                </c:pt>
                <c:pt idx="3">
                  <c:v>5.1001</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6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Schick</c:v>
                </c:pt>
                <c:pt idx="1">
                  <c:v>Equate</c:v>
                </c:pt>
                <c:pt idx="2">
                  <c:v>Gillette</c:v>
                </c:pt>
                <c:pt idx="3">
                  <c:v>Bic</c:v>
                </c:pt>
                <c:pt idx="4">
                  <c:v>Pbg Pl</c:v>
                </c:pt>
                <c:pt idx="5">
                  <c:v>Private Label</c:v>
                </c:pt>
              </c:strCache>
            </c:strRef>
          </c:cat>
          <c:val>
            <c:numRef>
              <c:f>Sheet1!$P$2:$P$7</c:f>
              <c:numCache>
                <c:formatCode>General</c:formatCode>
                <c:ptCount val="6"/>
                <c:pt idx="0">
                  <c:v>6.4316</c:v>
                </c:pt>
                <c:pt idx="2">
                  <c:v>12.5786</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7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Schick</c:v>
                </c:pt>
                <c:pt idx="1">
                  <c:v>Equate</c:v>
                </c:pt>
                <c:pt idx="2">
                  <c:v>Gillette</c:v>
                </c:pt>
                <c:pt idx="3">
                  <c:v>Bic</c:v>
                </c:pt>
                <c:pt idx="4">
                  <c:v>Pbg Pl</c:v>
                </c:pt>
                <c:pt idx="5">
                  <c:v>Private Label</c:v>
                </c:pt>
              </c:strCache>
            </c:strRef>
          </c:cat>
          <c:val>
            <c:numRef>
              <c:f>Sheet1!$Q$2:$Q$7</c:f>
              <c:numCache>
                <c:formatCode>General</c:formatCode>
                <c:ptCount val="6"/>
                <c:pt idx="2">
                  <c:v>12.4145</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8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Schick</c:v>
                </c:pt>
                <c:pt idx="1">
                  <c:v>Equate</c:v>
                </c:pt>
                <c:pt idx="2">
                  <c:v>Gillette</c:v>
                </c:pt>
                <c:pt idx="3">
                  <c:v>Bic</c:v>
                </c:pt>
                <c:pt idx="4">
                  <c:v>Pbg Pl</c:v>
                </c:pt>
                <c:pt idx="5">
                  <c:v>Private Label</c:v>
                </c:pt>
              </c:strCache>
            </c:strRef>
          </c:cat>
          <c:val>
            <c:numRef>
              <c:f>Sheet1!$R$2:$R$7</c:f>
              <c:numCache>
                <c:formatCode>General</c:formatCode>
                <c:ptCount val="6"/>
                <c:pt idx="0">
                  <c:v>11.3234</c:v>
                </c:pt>
                <c:pt idx="1">
                  <c:v>5.9797</c:v>
                </c:pt>
                <c:pt idx="3">
                  <c:v>5.5367</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9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Schick</c:v>
                </c:pt>
                <c:pt idx="1">
                  <c:v>Equate</c:v>
                </c:pt>
                <c:pt idx="2">
                  <c:v>Gillette</c:v>
                </c:pt>
                <c:pt idx="3">
                  <c:v>Bic</c:v>
                </c:pt>
                <c:pt idx="4">
                  <c:v>Pbg Pl</c:v>
                </c:pt>
                <c:pt idx="5">
                  <c:v>Private Label</c:v>
                </c:pt>
              </c:strCache>
            </c:strRef>
          </c:cat>
          <c:val>
            <c:numRef>
              <c:f>Sheet1!$S$2:$S$7</c:f>
              <c:numCache>
                <c:formatCode>General</c:formatCode>
                <c:ptCount val="6"/>
                <c:pt idx="0">
                  <c:v>21.2495</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Equate</c:v>
                </c:pt>
                <c:pt idx="1">
                  <c:v>Schick</c:v>
                </c:pt>
                <c:pt idx="2">
                  <c:v>Gillette</c:v>
                </c:pt>
                <c:pt idx="3">
                  <c:v>Bic</c:v>
                </c:pt>
              </c:strCache>
            </c:strRef>
          </c:cat>
          <c:val>
            <c:numRef>
              <c:f>Sheet1!$B$2:$B$5</c:f>
              <c:numCache>
                <c:formatCode>General</c:formatCode>
                <c:ptCount val="4"/>
                <c:pt idx="1">
                  <c:v>4.4375</c:v>
                </c:pt>
                <c:pt idx="2">
                  <c:v>10.2883</c:v>
                </c:pt>
                <c:pt idx="3">
                  <c:v>5.882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Equate</c:v>
                </c:pt>
                <c:pt idx="1">
                  <c:v>Schick</c:v>
                </c:pt>
                <c:pt idx="2">
                  <c:v>Gillette</c:v>
                </c:pt>
                <c:pt idx="3">
                  <c:v>Bic</c:v>
                </c:pt>
              </c:strCache>
            </c:strRef>
          </c:cat>
          <c:val>
            <c:numRef>
              <c:f>Sheet1!$C$2:$C$5</c:f>
              <c:numCache>
                <c:formatCode>General</c:formatCode>
                <c:ptCount val="4"/>
                <c:pt idx="0">
                  <c:v>2.1773</c:v>
                </c:pt>
                <c:pt idx="1">
                  <c:v>8.4824</c:v>
                </c:pt>
                <c:pt idx="2">
                  <c:v>11.7058</c:v>
                </c:pt>
                <c:pt idx="3">
                  <c:v>3.432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Equate</c:v>
                </c:pt>
                <c:pt idx="1">
                  <c:v>Schick</c:v>
                </c:pt>
                <c:pt idx="2">
                  <c:v>Gillette</c:v>
                </c:pt>
                <c:pt idx="3">
                  <c:v>Bic</c:v>
                </c:pt>
              </c:strCache>
            </c:strRef>
          </c:cat>
          <c:val>
            <c:numRef>
              <c:f>Sheet1!$D$2:$D$5</c:f>
              <c:numCache>
                <c:formatCode>General</c:formatCode>
                <c:ptCount val="4"/>
                <c:pt idx="2">
                  <c:v>15.012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Equate</c:v>
                </c:pt>
                <c:pt idx="1">
                  <c:v>Schick</c:v>
                </c:pt>
                <c:pt idx="2">
                  <c:v>Gillette</c:v>
                </c:pt>
                <c:pt idx="3">
                  <c:v>Bic</c:v>
                </c:pt>
              </c:strCache>
            </c:strRef>
          </c:cat>
          <c:val>
            <c:numRef>
              <c:f>Sheet1!$E$2:$E$5</c:f>
              <c:numCache>
                <c:formatCode>General</c:formatCode>
                <c:ptCount val="4"/>
                <c:pt idx="2">
                  <c:v>14.992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Equate</c:v>
                </c:pt>
                <c:pt idx="1">
                  <c:v>Schick</c:v>
                </c:pt>
                <c:pt idx="2">
                  <c:v>Gillette</c:v>
                </c:pt>
                <c:pt idx="3">
                  <c:v>Bic</c:v>
                </c:pt>
              </c:strCache>
            </c:strRef>
          </c:cat>
          <c:val>
            <c:numRef>
              <c:f>Sheet1!$F$2:$F$5</c:f>
              <c:numCache>
                <c:formatCode>General</c:formatCode>
                <c:ptCount val="4"/>
                <c:pt idx="1">
                  <c:v>0.79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0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Equate</c:v>
                </c:pt>
                <c:pt idx="1">
                  <c:v>Schick</c:v>
                </c:pt>
                <c:pt idx="2">
                  <c:v>Gillette</c:v>
                </c:pt>
                <c:pt idx="3">
                  <c:v>Bic</c:v>
                </c:pt>
              </c:strCache>
            </c:strRef>
          </c:cat>
          <c:val>
            <c:numRef>
              <c:f>Sheet1!$G$2:$G$5</c:f>
              <c:numCache>
                <c:formatCode>General</c:formatCode>
                <c:ptCount val="4"/>
                <c:pt idx="1">
                  <c:v>25.0</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1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Equate</c:v>
                </c:pt>
                <c:pt idx="1">
                  <c:v>Schick</c:v>
                </c:pt>
                <c:pt idx="2">
                  <c:v>Gillette</c:v>
                </c:pt>
                <c:pt idx="3">
                  <c:v>Bic</c:v>
                </c:pt>
              </c:strCache>
            </c:strRef>
          </c:cat>
          <c:val>
            <c:numRef>
              <c:f>Sheet1!$H$2:$H$5</c:f>
              <c:numCache>
                <c:formatCode>General</c:formatCode>
                <c:ptCount val="4"/>
                <c:pt idx="2">
                  <c:v>20.064</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5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Equate</c:v>
                </c:pt>
                <c:pt idx="1">
                  <c:v>Schick</c:v>
                </c:pt>
                <c:pt idx="2">
                  <c:v>Gillette</c:v>
                </c:pt>
                <c:pt idx="3">
                  <c:v>Bic</c:v>
                </c:pt>
              </c:strCache>
            </c:strRef>
          </c:cat>
          <c:val>
            <c:numRef>
              <c:f>Sheet1!$I$2:$I$5</c:f>
              <c:numCache>
                <c:formatCode>General</c:formatCode>
                <c:ptCount val="4"/>
                <c:pt idx="2">
                  <c:v>19.9609</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Equate</c:v>
                </c:pt>
                <c:pt idx="1">
                  <c:v>Schick</c:v>
                </c:pt>
                <c:pt idx="2">
                  <c:v>Gillette</c:v>
                </c:pt>
                <c:pt idx="3">
                  <c:v>Bic</c:v>
                </c:pt>
              </c:strCache>
            </c:strRef>
          </c:cat>
          <c:val>
            <c:numRef>
              <c:f>Sheet1!$J$2:$J$5</c:f>
              <c:numCache>
                <c:formatCode>General</c:formatCode>
                <c:ptCount val="4"/>
                <c:pt idx="0">
                  <c:v>1.937</c:v>
                </c:pt>
                <c:pt idx="1">
                  <c:v>2.5</c:v>
                </c:pt>
                <c:pt idx="3">
                  <c:v>6.0477</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3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Equate</c:v>
                </c:pt>
                <c:pt idx="1">
                  <c:v>Schick</c:v>
                </c:pt>
                <c:pt idx="2">
                  <c:v>Gillette</c:v>
                </c:pt>
                <c:pt idx="3">
                  <c:v>Bic</c:v>
                </c:pt>
              </c:strCache>
            </c:strRef>
          </c:cat>
          <c:val>
            <c:numRef>
              <c:f>Sheet1!$K$2:$K$5</c:f>
              <c:numCache>
                <c:formatCode>General</c:formatCode>
                <c:ptCount val="4"/>
                <c:pt idx="0">
                  <c:v>5.0484</c:v>
                </c:pt>
                <c:pt idx="1">
                  <c:v>3.8235</c:v>
                </c:pt>
                <c:pt idx="2">
                  <c:v>6.9635</c:v>
                </c:pt>
                <c:pt idx="3">
                  <c:v>6.4462</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5CT</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Equate</c:v>
                </c:pt>
                <c:pt idx="1">
                  <c:v>Schick</c:v>
                </c:pt>
                <c:pt idx="2">
                  <c:v>Gillette</c:v>
                </c:pt>
                <c:pt idx="3">
                  <c:v>Bic</c:v>
                </c:pt>
              </c:strCache>
            </c:strRef>
          </c:cat>
          <c:val>
            <c:numRef>
              <c:f>Sheet1!$L$2:$L$5</c:f>
              <c:numCache>
                <c:formatCode>General</c:formatCode>
                <c:ptCount val="4"/>
                <c:pt idx="0">
                  <c:v>1.0034</c:v>
                </c:pt>
                <c:pt idx="3">
                  <c:v>4.918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6CT</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Equate</c:v>
                </c:pt>
                <c:pt idx="1">
                  <c:v>Schick</c:v>
                </c:pt>
                <c:pt idx="2">
                  <c:v>Gillette</c:v>
                </c:pt>
                <c:pt idx="3">
                  <c:v>Bic</c:v>
                </c:pt>
              </c:strCache>
            </c:strRef>
          </c:cat>
          <c:val>
            <c:numRef>
              <c:f>Sheet1!$M$2:$M$5</c:f>
              <c:numCache>
                <c:formatCode>General</c:formatCode>
                <c:ptCount val="4"/>
                <c:pt idx="1">
                  <c:v>5.6071</c:v>
                </c:pt>
                <c:pt idx="2">
                  <c:v>13.0628</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7CT</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Equate</c:v>
                </c:pt>
                <c:pt idx="1">
                  <c:v>Schick</c:v>
                </c:pt>
                <c:pt idx="2">
                  <c:v>Gillette</c:v>
                </c:pt>
                <c:pt idx="3">
                  <c:v>Bic</c:v>
                </c:pt>
              </c:strCache>
            </c:strRef>
          </c:cat>
          <c:val>
            <c:numRef>
              <c:f>Sheet1!$N$2:$N$5</c:f>
              <c:numCache>
                <c:formatCode>General</c:formatCode>
                <c:ptCount val="4"/>
                <c:pt idx="2">
                  <c:v>14.9907</c:v>
                </c:pt>
              </c:numCache>
            </c:numRef>
          </c:val>
          <c:smooth val="0"/>
          <c:extLst>
            <c:ext xmlns:c16="http://schemas.microsoft.com/office/drawing/2014/chart" uri="{C3380CC4-5D6E-409C-BE32-E72D297353CC}">
              <c16:uniqueId val="{0000001B-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5</a:t>
                    </a:r>
                  </a:p>
                </c:rich>
              </c:tx>
              <c:dLblPos val="t"/>
              <c:showLegendKey val="0"/>
              <c:showVal val="1"/>
              <c:showCatName val="0"/>
              <c:showSerName val="0"/>
              <c:showPercent val="0"/>
              <c:showBubbleSize val="0"/>
            </c:dLbl>
            <c:dLbl>
              <c:idx val="1"/>
              <c:tx>
                <c:rich>
                  <a:bodyPr/>
                  <a:lstStyle/>
                  <a:p>
                    <a:r>
                      <a:t>11.01</a:t>
                    </a:r>
                  </a:p>
                </c:rich>
              </c:tx>
              <c:dLblPos val="t"/>
              <c:showLegendKey val="0"/>
              <c:showVal val="1"/>
              <c:showCatName val="0"/>
              <c:showSerName val="0"/>
              <c:showPercent val="0"/>
              <c:showBubbleSize val="0"/>
            </c:dLbl>
            <c:dLbl>
              <c:idx val="2"/>
              <c:tx>
                <c:rich>
                  <a:bodyPr/>
                  <a:lstStyle/>
                  <a:p>
                    <a:r>
                      <a:t>6.5</a:t>
                    </a:r>
                  </a:p>
                </c:rich>
              </c:tx>
              <c:dLblPos val="t"/>
              <c:showLegendKey val="0"/>
              <c:showVal val="1"/>
              <c:showCatName val="0"/>
              <c:showSerName val="0"/>
              <c:showPercent val="0"/>
              <c:showBubbleSize val="0"/>
            </c:dLbl>
            <c:dLbl>
              <c:idx val="3"/>
              <c:tx>
                <c:rich>
                  <a:bodyPr/>
                  <a:lstStyle/>
                  <a:p>
                    <a:r>
                      <a:t>15.03</a:t>
                    </a:r>
                  </a:p>
                </c:rich>
              </c:tx>
              <c:dLblPos val="t"/>
              <c:showLegendKey val="0"/>
              <c:showVal val="1"/>
              <c:showCatName val="0"/>
              <c:showSerName val="0"/>
              <c:showPercent val="0"/>
              <c:showBubbleSize val="0"/>
            </c:dLbl>
            <c:dLbl>
              <c:idx val="4"/>
              <c:tx>
                <c:rich>
                  <a:bodyPr/>
                  <a:lstStyle/>
                  <a:p>
                    <a:r>
                      <a:t>10.0</a:t>
                    </a:r>
                  </a:p>
                </c:rich>
              </c:tx>
              <c:dLblPos val="t"/>
              <c:showLegendKey val="0"/>
              <c:showVal val="1"/>
              <c:showCatName val="0"/>
              <c:showSerName val="0"/>
              <c:showPercent val="0"/>
              <c:showBubbleSize val="0"/>
            </c:dLbl>
            <c:dLbl>
              <c:idx val="5"/>
              <c:tx>
                <c:rich>
                  <a:bodyPr/>
                  <a:lstStyle/>
                  <a:p>
                    <a:r>
                      <a:t>11.02</a:t>
                    </a:r>
                  </a:p>
                </c:rich>
              </c:tx>
              <c:dLblPos val="t"/>
              <c:showLegendKey val="0"/>
              <c:showVal val="1"/>
              <c:showCatName val="0"/>
              <c:showSerName val="0"/>
              <c:showPercent val="0"/>
              <c:showBubbleSize val="0"/>
            </c:dLbl>
            <c:dLbl>
              <c:idx val="6"/>
              <c:tx>
                <c:rich>
                  <a:bodyPr/>
                  <a:lstStyle/>
                  <a:p>
                    <a:r>
                      <a:t>6.53</a:t>
                    </a:r>
                  </a:p>
                </c:rich>
              </c:tx>
              <c:dLblPos val="t"/>
              <c:showLegendKey val="0"/>
              <c:showVal val="1"/>
              <c:showCatName val="0"/>
              <c:showSerName val="0"/>
              <c:showPercent val="0"/>
              <c:showBubbleSize val="0"/>
            </c:dLbl>
            <c:dLbl>
              <c:idx val="7"/>
              <c:tx>
                <c:rich>
                  <a:bodyPr/>
                  <a:lstStyle/>
                  <a:p>
                    <a:r>
                      <a:t>15.1</a:t>
                    </a:r>
                  </a:p>
                </c:rich>
              </c:tx>
              <c:dLblPos val="t"/>
              <c:showLegendKey val="0"/>
              <c:showVal val="1"/>
              <c:showCatName val="0"/>
              <c:showSerName val="0"/>
              <c:showPercent val="0"/>
              <c:showBubbleSize val="0"/>
            </c:dLbl>
            <c:dLbl>
              <c:idx val="8"/>
              <c:tx>
                <c:rich>
                  <a:bodyPr/>
                  <a:lstStyle/>
                  <a:p>
                    <a:r>
                      <a:t>14.91</a:t>
                    </a:r>
                  </a:p>
                </c:rich>
              </c:tx>
              <c:dLblPos val="t"/>
              <c:showLegendKey val="0"/>
              <c:showVal val="1"/>
              <c:showCatName val="0"/>
              <c:showSerName val="0"/>
              <c:showPercent val="0"/>
              <c:showBubbleSize val="0"/>
            </c:dLbl>
            <c:dLbl>
              <c:idx val="9"/>
              <c:tx>
                <c:rich>
                  <a:bodyPr/>
                  <a:lstStyle/>
                  <a:p>
                    <a:r>
                      <a:t>9.96</a:t>
                    </a:r>
                  </a:p>
                </c:rich>
              </c:tx>
              <c:dLblPos val="t"/>
              <c:showLegendKey val="0"/>
              <c:showVal val="1"/>
              <c:showCatName val="0"/>
              <c:showSerName val="0"/>
              <c:showPercent val="0"/>
              <c:showBubbleSize val="0"/>
            </c:dLbl>
            <c:dLbl>
              <c:idx val="10"/>
              <c:tx>
                <c:rich>
                  <a:bodyPr/>
                  <a:lstStyle/>
                  <a:p>
                    <a:r>
                      <a:t>26.97</a:t>
                    </a:r>
                  </a:p>
                </c:rich>
              </c:tx>
              <c:dLblPos val="t"/>
              <c:showLegendKey val="0"/>
              <c:showVal val="1"/>
              <c:showCatName val="0"/>
              <c:showSerName val="0"/>
              <c:showPercent val="0"/>
              <c:showBubbleSize val="0"/>
            </c:dLbl>
            <c:dLbl>
              <c:idx val="11"/>
              <c:tx>
                <c:rich>
                  <a:bodyPr/>
                  <a:lstStyle/>
                  <a:p>
                    <a:r>
                      <a:t>10.0</a:t>
                    </a:r>
                  </a:p>
                </c:rich>
              </c:tx>
              <c:dLblPos val="t"/>
              <c:showLegendKey val="0"/>
              <c:showVal val="1"/>
              <c:showCatName val="0"/>
              <c:showSerName val="0"/>
              <c:showPercent val="0"/>
              <c:showBubbleSize val="0"/>
            </c:dLbl>
            <c:dLbl>
              <c:idx val="12"/>
              <c:tx>
                <c:rich>
                  <a:bodyPr/>
                  <a:lstStyle/>
                  <a:p>
                    <a:r>
                      <a:t>9.97</a:t>
                    </a:r>
                  </a:p>
                </c:rich>
              </c:tx>
              <c:dLblPos val="t"/>
              <c:showLegendKey val="0"/>
              <c:showVal val="1"/>
              <c:showCatName val="0"/>
              <c:showSerName val="0"/>
              <c:showPercent val="0"/>
              <c:showBubbleSize val="0"/>
            </c:dLbl>
            <c:dLbl>
              <c:idx val="13"/>
              <c:tx>
                <c:rich>
                  <a:bodyPr/>
                  <a:lstStyle/>
                  <a:p>
                    <a:r>
                      <a:t>9.92</a:t>
                    </a:r>
                  </a:p>
                </c:rich>
              </c:tx>
              <c:dLblPos val="t"/>
              <c:showLegendKey val="0"/>
              <c:showVal val="1"/>
              <c:showCatName val="0"/>
              <c:showSerName val="0"/>
              <c:showPercent val="0"/>
              <c:showBubbleSize val="0"/>
            </c:dLbl>
            <c:dLbl>
              <c:idx val="14"/>
              <c:tx>
                <c:rich>
                  <a:bodyPr/>
                  <a:lstStyle/>
                  <a:p>
                    <a:r>
                      <a:t>7.7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CHICK XTREME 2 SENSITIVE 2 BLADE DISPOSABLE NORMAL 12CT</c:v>
                </c:pt>
                <c:pt idx="1">
                  <c:v>SCHICK XTREME 3 SENSITIVE GREEN 3 BLADE DISPOSABLE SENSITIVE 8CT</c:v>
                </c:pt>
                <c:pt idx="2">
                  <c:v>SCHICK XTREME 3 SENSITIVE BLACK 3 BLADE DISPOSABLE SENSITIVE 4CT</c:v>
                </c:pt>
                <c:pt idx="3">
                  <c:v>SCHICK XTREME 3 SENSITIVE BLACK GREEN 3 BLADE DISPOSABLE SENSITIVE 12CT</c:v>
                </c:pt>
                <c:pt idx="4">
                  <c:v>SCHICK XTREME 3 SENSITIVE GREEN HOLIDAY GIFT PACK 3 BLADE DISPOSABLE SENSITIVE 8CT</c:v>
                </c:pt>
                <c:pt idx="5">
                  <c:v>SCHICK XTREME 3 SENSITIVE GREEN BLACK 3 BLADE DISPOSABLE SENSITIVE 8CT</c:v>
                </c:pt>
                <c:pt idx="6">
                  <c:v>SCHICK XTREME 3 SENSITIVE GREEN BLACK 3 BLADE DISPOSABLE SENSITIVE 4CT</c:v>
                </c:pt>
                <c:pt idx="7">
                  <c:v>SCHICK XTREME 3 SENSITIVE GREEN BLACK 3 BLADE DISPOSABLE SENSITIVE 12CT</c:v>
                </c:pt>
                <c:pt idx="8">
                  <c:v>HYDRO 5 SENSITIVE 5 BLADE REFILL SENSITIVE 6CT</c:v>
                </c:pt>
                <c:pt idx="9">
                  <c:v>HYDRO 5 SENSITIVE 5 BLADE RAZOR SENSITIVE 3CT</c:v>
                </c:pt>
                <c:pt idx="10">
                  <c:v>HYDRO 5 SENSITIVE 5 BLADE REFILL SENSITIVE 12CT</c:v>
                </c:pt>
                <c:pt idx="11">
                  <c:v>HYDRO 5 SENSITIVE GRAY HOLIDAY GIFT PACK 5 BLADE RAZOR SENSITIVE 3CT</c:v>
                </c:pt>
                <c:pt idx="12">
                  <c:v>SCHICK HYDRO 3 SENSITIVE 3 BLADE RAZOR SENSITIVE 4CT</c:v>
                </c:pt>
                <c:pt idx="13">
                  <c:v>SCHICK HYDRO 3 SENSITIVE 3 BLADE REFILL SENSITIVE 5CT</c:v>
                </c:pt>
                <c:pt idx="14">
                  <c:v>HYDRO 5 SENSITIVE 5 BLADE REFILL SENSITIVE 4CT</c:v>
                </c:pt>
              </c:strCache>
            </c:strRef>
          </c:cat>
          <c:val>
            <c:numRef>
              <c:f>Sheet1!$B$2:$B$16</c:f>
              <c:numCache>
                <c:formatCode>General</c:formatCode>
                <c:ptCount val="15"/>
                <c:pt idx="0">
                  <c:v>6.5</c:v>
                </c:pt>
                <c:pt idx="1">
                  <c:v>11.01</c:v>
                </c:pt>
                <c:pt idx="2">
                  <c:v>6.5</c:v>
                </c:pt>
                <c:pt idx="3">
                  <c:v>15.03</c:v>
                </c:pt>
                <c:pt idx="4">
                  <c:v>10.0</c:v>
                </c:pt>
                <c:pt idx="5">
                  <c:v>11.02</c:v>
                </c:pt>
                <c:pt idx="6">
                  <c:v>6.53</c:v>
                </c:pt>
                <c:pt idx="7">
                  <c:v>15.1</c:v>
                </c:pt>
                <c:pt idx="8">
                  <c:v>14.91</c:v>
                </c:pt>
                <c:pt idx="9">
                  <c:v>9.96</c:v>
                </c:pt>
                <c:pt idx="10">
                  <c:v>26.97</c:v>
                </c:pt>
                <c:pt idx="11">
                  <c:v>10.0</c:v>
                </c:pt>
                <c:pt idx="12">
                  <c:v>9.97</c:v>
                </c:pt>
                <c:pt idx="13">
                  <c:v>9.92</c:v>
                </c:pt>
                <c:pt idx="14">
                  <c:v>7.7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Schick</c:v>
                </c:pt>
                <c:pt idx="1">
                  <c:v>Equate</c:v>
                </c:pt>
                <c:pt idx="2">
                  <c:v>Cremo</c:v>
                </c:pt>
                <c:pt idx="3">
                  <c:v>Gillette</c:v>
                </c:pt>
                <c:pt idx="4">
                  <c:v>Harry's</c:v>
                </c:pt>
                <c:pt idx="5">
                  <c:v>Dollar Shave Club</c:v>
                </c:pt>
                <c:pt idx="6">
                  <c:v>Van Der Hagen</c:v>
                </c:pt>
                <c:pt idx="7">
                  <c:v>Pbg Pl</c:v>
                </c:pt>
              </c:strCache>
            </c:strRef>
          </c:cat>
          <c:val>
            <c:numRef>
              <c:f>Sheet1!$B$2:$B$9</c:f>
              <c:numCache>
                <c:formatCode>General</c:formatCode>
                <c:ptCount val="8"/>
                <c:pt idx="4">
                  <c:v>23.113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Schick</c:v>
                </c:pt>
                <c:pt idx="1">
                  <c:v>Equate</c:v>
                </c:pt>
                <c:pt idx="2">
                  <c:v>Cremo</c:v>
                </c:pt>
                <c:pt idx="3">
                  <c:v>Gillette</c:v>
                </c:pt>
                <c:pt idx="4">
                  <c:v>Harry's</c:v>
                </c:pt>
                <c:pt idx="5">
                  <c:v>Dollar Shave Club</c:v>
                </c:pt>
                <c:pt idx="6">
                  <c:v>Van Der Hagen</c:v>
                </c:pt>
                <c:pt idx="7">
                  <c:v>Pbg Pl</c:v>
                </c:pt>
              </c:strCache>
            </c:strRef>
          </c:cat>
          <c:val>
            <c:numRef>
              <c:f>Sheet1!$C$2:$C$9</c:f>
              <c:numCache>
                <c:formatCode>General</c:formatCode>
                <c:ptCount val="8"/>
                <c:pt idx="0">
                  <c:v>39.0</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chick</c:v>
                </c:pt>
                <c:pt idx="1">
                  <c:v>Equate</c:v>
                </c:pt>
                <c:pt idx="2">
                  <c:v>Cremo</c:v>
                </c:pt>
                <c:pt idx="3">
                  <c:v>Gillette</c:v>
                </c:pt>
                <c:pt idx="4">
                  <c:v>Harry's</c:v>
                </c:pt>
                <c:pt idx="5">
                  <c:v>Dollar Shave Club</c:v>
                </c:pt>
                <c:pt idx="6">
                  <c:v>Van Der Hagen</c:v>
                </c:pt>
                <c:pt idx="7">
                  <c:v>Pbg Pl</c:v>
                </c:pt>
              </c:strCache>
            </c:strRef>
          </c:cat>
          <c:val>
            <c:numRef>
              <c:f>Sheet1!$D$2:$D$9</c:f>
              <c:numCache>
                <c:formatCode>General</c:formatCode>
                <c:ptCount val="8"/>
                <c:pt idx="3">
                  <c:v>44.350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chick</c:v>
                </c:pt>
                <c:pt idx="1">
                  <c:v>Equate</c:v>
                </c:pt>
                <c:pt idx="2">
                  <c:v>Cremo</c:v>
                </c:pt>
                <c:pt idx="3">
                  <c:v>Gillette</c:v>
                </c:pt>
                <c:pt idx="4">
                  <c:v>Harry's</c:v>
                </c:pt>
                <c:pt idx="5">
                  <c:v>Dollar Shave Club</c:v>
                </c:pt>
                <c:pt idx="6">
                  <c:v>Van Der Hagen</c:v>
                </c:pt>
                <c:pt idx="7">
                  <c:v>Pbg Pl</c:v>
                </c:pt>
              </c:strCache>
            </c:strRef>
          </c:cat>
          <c:val>
            <c:numRef>
              <c:f>Sheet1!$E$2:$E$9</c:f>
              <c:numCache>
                <c:formatCode>General</c:formatCode>
                <c:ptCount val="8"/>
                <c:pt idx="0">
                  <c:v>27.585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7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Schick</c:v>
                </c:pt>
                <c:pt idx="1">
                  <c:v>Equate</c:v>
                </c:pt>
                <c:pt idx="2">
                  <c:v>Cremo</c:v>
                </c:pt>
                <c:pt idx="3">
                  <c:v>Gillette</c:v>
                </c:pt>
                <c:pt idx="4">
                  <c:v>Harry's</c:v>
                </c:pt>
                <c:pt idx="5">
                  <c:v>Dollar Shave Club</c:v>
                </c:pt>
                <c:pt idx="6">
                  <c:v>Van Der Hagen</c:v>
                </c:pt>
                <c:pt idx="7">
                  <c:v>Pbg Pl</c:v>
                </c:pt>
              </c:strCache>
            </c:strRef>
          </c:cat>
          <c:val>
            <c:numRef>
              <c:f>Sheet1!$F$2:$F$9</c:f>
              <c:numCache>
                <c:formatCode>General</c:formatCode>
                <c:ptCount val="8"/>
                <c:pt idx="0">
                  <c:v>36.947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Schick</c:v>
                </c:pt>
                <c:pt idx="1">
                  <c:v>Equate</c:v>
                </c:pt>
                <c:pt idx="2">
                  <c:v>Cremo</c:v>
                </c:pt>
                <c:pt idx="3">
                  <c:v>Gillette</c:v>
                </c:pt>
                <c:pt idx="4">
                  <c:v>Harry's</c:v>
                </c:pt>
                <c:pt idx="5">
                  <c:v>Dollar Shave Club</c:v>
                </c:pt>
                <c:pt idx="6">
                  <c:v>Van Der Hagen</c:v>
                </c:pt>
                <c:pt idx="7">
                  <c:v>Pbg Pl</c:v>
                </c:pt>
              </c:strCache>
            </c:strRef>
          </c:cat>
          <c:val>
            <c:numRef>
              <c:f>Sheet1!$G$2:$G$9</c:f>
              <c:numCache>
                <c:formatCode>General</c:formatCode>
                <c:ptCount val="8"/>
                <c:pt idx="0">
                  <c:v>5.4337</c:v>
                </c:pt>
                <c:pt idx="1">
                  <c:v>4.0</c:v>
                </c:pt>
                <c:pt idx="3">
                  <c:v>12.851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0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Schick</c:v>
                </c:pt>
                <c:pt idx="1">
                  <c:v>Equate</c:v>
                </c:pt>
                <c:pt idx="2">
                  <c:v>Cremo</c:v>
                </c:pt>
                <c:pt idx="3">
                  <c:v>Gillette</c:v>
                </c:pt>
                <c:pt idx="4">
                  <c:v>Harry's</c:v>
                </c:pt>
                <c:pt idx="5">
                  <c:v>Dollar Shave Club</c:v>
                </c:pt>
                <c:pt idx="6">
                  <c:v>Van Der Hagen</c:v>
                </c:pt>
                <c:pt idx="7">
                  <c:v>Pbg Pl</c:v>
                </c:pt>
              </c:strCache>
            </c:strRef>
          </c:cat>
          <c:val>
            <c:numRef>
              <c:f>Sheet1!$H$2:$H$9</c:f>
              <c:numCache>
                <c:formatCode>General</c:formatCode>
                <c:ptCount val="8"/>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chick</c:v>
                </c:pt>
                <c:pt idx="1">
                  <c:v>Equate</c:v>
                </c:pt>
                <c:pt idx="2">
                  <c:v>Cremo</c:v>
                </c:pt>
                <c:pt idx="3">
                  <c:v>Gillette</c:v>
                </c:pt>
                <c:pt idx="4">
                  <c:v>Harry's</c:v>
                </c:pt>
                <c:pt idx="5">
                  <c:v>Dollar Shave Club</c:v>
                </c:pt>
                <c:pt idx="6">
                  <c:v>Van Der Hagen</c:v>
                </c:pt>
                <c:pt idx="7">
                  <c:v>Pbg Pl</c:v>
                </c:pt>
              </c:strCache>
            </c:strRef>
          </c:cat>
          <c:val>
            <c:numRef>
              <c:f>Sheet1!$I$2:$I$9</c:f>
              <c:numCache>
                <c:formatCode>General</c:formatCode>
                <c:ptCount val="8"/>
                <c:pt idx="1">
                  <c:v>8.4393</c:v>
                </c:pt>
                <c:pt idx="2">
                  <c:v>14.3525</c:v>
                </c:pt>
                <c:pt idx="4">
                  <c:v>10.8144</c:v>
                </c:pt>
                <c:pt idx="5">
                  <c:v>9.1038</c:v>
                </c:pt>
                <c:pt idx="7">
                  <c:v>7.7762</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3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Schick</c:v>
                </c:pt>
                <c:pt idx="1">
                  <c:v>Equate</c:v>
                </c:pt>
                <c:pt idx="2">
                  <c:v>Cremo</c:v>
                </c:pt>
                <c:pt idx="3">
                  <c:v>Gillette</c:v>
                </c:pt>
                <c:pt idx="4">
                  <c:v>Harry's</c:v>
                </c:pt>
                <c:pt idx="5">
                  <c:v>Dollar Shave Club</c:v>
                </c:pt>
                <c:pt idx="6">
                  <c:v>Van Der Hagen</c:v>
                </c:pt>
                <c:pt idx="7">
                  <c:v>Pbg Pl</c:v>
                </c:pt>
              </c:strCache>
            </c:strRef>
          </c:cat>
          <c:val>
            <c:numRef>
              <c:f>Sheet1!$J$2:$J$9</c:f>
              <c:numCache>
                <c:formatCode>General</c:formatCode>
                <c:ptCount val="8"/>
                <c:pt idx="0">
                  <c:v>10.1758</c:v>
                </c:pt>
                <c:pt idx="2">
                  <c:v>9.6875</c:v>
                </c:pt>
                <c:pt idx="3">
                  <c:v>12.9552</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5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Schick</c:v>
                </c:pt>
                <c:pt idx="1">
                  <c:v>Equate</c:v>
                </c:pt>
                <c:pt idx="2">
                  <c:v>Cremo</c:v>
                </c:pt>
                <c:pt idx="3">
                  <c:v>Gillette</c:v>
                </c:pt>
                <c:pt idx="4">
                  <c:v>Harry's</c:v>
                </c:pt>
                <c:pt idx="5">
                  <c:v>Dollar Shave Club</c:v>
                </c:pt>
                <c:pt idx="6">
                  <c:v>Van Der Hagen</c:v>
                </c:pt>
                <c:pt idx="7">
                  <c:v>Pbg Pl</c:v>
                </c:pt>
              </c:strCache>
            </c:strRef>
          </c:cat>
          <c:val>
            <c:numRef>
              <c:f>Sheet1!$K$2:$K$9</c:f>
              <c:numCache>
                <c:formatCode>General</c:formatCode>
                <c:ptCount val="8"/>
                <c:pt idx="0">
                  <c:v>17.9653</c:v>
                </c:pt>
                <c:pt idx="2">
                  <c:v>9.5861</c:v>
                </c:pt>
                <c:pt idx="3">
                  <c:v>23.4839</c:v>
                </c:pt>
                <c:pt idx="4">
                  <c:v>16.7757</c:v>
                </c:pt>
                <c:pt idx="6">
                  <c:v>18.1746</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6CT</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chick</c:v>
                </c:pt>
                <c:pt idx="1">
                  <c:v>Equate</c:v>
                </c:pt>
                <c:pt idx="2">
                  <c:v>Cremo</c:v>
                </c:pt>
                <c:pt idx="3">
                  <c:v>Gillette</c:v>
                </c:pt>
                <c:pt idx="4">
                  <c:v>Harry's</c:v>
                </c:pt>
                <c:pt idx="5">
                  <c:v>Dollar Shave Club</c:v>
                </c:pt>
                <c:pt idx="6">
                  <c:v>Van Der Hagen</c:v>
                </c:pt>
                <c:pt idx="7">
                  <c:v>Pbg Pl</c:v>
                </c:pt>
              </c:strCache>
            </c:strRef>
          </c:cat>
          <c:val>
            <c:numRef>
              <c:f>Sheet1!$L$2:$L$9</c:f>
              <c:numCache>
                <c:formatCode>General</c:formatCode>
                <c:ptCount val="8"/>
                <c:pt idx="3">
                  <c:v>21.0307</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7CT</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Schick</c:v>
                </c:pt>
                <c:pt idx="1">
                  <c:v>Equate</c:v>
                </c:pt>
                <c:pt idx="2">
                  <c:v>Cremo</c:v>
                </c:pt>
                <c:pt idx="3">
                  <c:v>Gillette</c:v>
                </c:pt>
                <c:pt idx="4">
                  <c:v>Harry's</c:v>
                </c:pt>
                <c:pt idx="5">
                  <c:v>Dollar Shave Club</c:v>
                </c:pt>
                <c:pt idx="6">
                  <c:v>Van Der Hagen</c:v>
                </c:pt>
                <c:pt idx="7">
                  <c:v>Pbg Pl</c:v>
                </c:pt>
              </c:strCache>
            </c:strRef>
          </c:cat>
          <c:val>
            <c:numRef>
              <c:f>Sheet1!$M$2:$M$9</c:f>
              <c:numCache>
                <c:formatCode>General</c:formatCode>
                <c:ptCount val="8"/>
                <c:pt idx="3">
                  <c:v>28.5343</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CT</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Schick</c:v>
                </c:pt>
                <c:pt idx="1">
                  <c:v>Equate</c:v>
                </c:pt>
                <c:pt idx="2">
                  <c:v>Cremo</c:v>
                </c:pt>
                <c:pt idx="3">
                  <c:v>Gillette</c:v>
                </c:pt>
                <c:pt idx="4">
                  <c:v>Harry's</c:v>
                </c:pt>
                <c:pt idx="5">
                  <c:v>Dollar Shave Club</c:v>
                </c:pt>
                <c:pt idx="6">
                  <c:v>Van Der Hagen</c:v>
                </c:pt>
                <c:pt idx="7">
                  <c:v>Pbg Pl</c:v>
                </c:pt>
              </c:strCache>
            </c:strRef>
          </c:cat>
          <c:val>
            <c:numRef>
              <c:f>Sheet1!$N$2:$N$9</c:f>
              <c:numCache>
                <c:formatCode>General</c:formatCode>
                <c:ptCount val="8"/>
                <c:pt idx="3">
                  <c:v>28.9141</c:v>
                </c:pt>
              </c:numCache>
            </c:numRef>
          </c:val>
          <c:smooth val="0"/>
          <c:extLst>
            <c:ext xmlns:c16="http://schemas.microsoft.com/office/drawing/2014/chart" uri="{C3380CC4-5D6E-409C-BE32-E72D297353CC}">
              <c16:uniqueId val="{0000001B-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Schick</c:v>
                </c:pt>
                <c:pt idx="1">
                  <c:v>Equate</c:v>
                </c:pt>
                <c:pt idx="2">
                  <c:v>Gillette</c:v>
                </c:pt>
                <c:pt idx="3">
                  <c:v>Harry's</c:v>
                </c:pt>
                <c:pt idx="4">
                  <c:v>Van Der Hagen</c:v>
                </c:pt>
              </c:strCache>
            </c:strRef>
          </c:cat>
          <c:val>
            <c:numRef>
              <c:f>Sheet1!$B$2:$B$6</c:f>
              <c:numCache>
                <c:formatCode>General</c:formatCode>
                <c:ptCount val="5"/>
                <c:pt idx="2">
                  <c:v>29.916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7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6</c:f>
              <c:strCache>
                <c:ptCount val="5"/>
                <c:pt idx="0">
                  <c:v>Schick</c:v>
                </c:pt>
                <c:pt idx="1">
                  <c:v>Equate</c:v>
                </c:pt>
                <c:pt idx="2">
                  <c:v>Gillette</c:v>
                </c:pt>
                <c:pt idx="3">
                  <c:v>Harry's</c:v>
                </c:pt>
                <c:pt idx="4">
                  <c:v>Van Der Hagen</c:v>
                </c:pt>
              </c:strCache>
            </c:strRef>
          </c:cat>
          <c:val>
            <c:numRef>
              <c:f>Sheet1!$C$2:$C$6</c:f>
              <c:numCache>
                <c:formatCode>General</c:formatCode>
                <c:ptCount val="5"/>
                <c:pt idx="0">
                  <c:v>15.0</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Schick</c:v>
                </c:pt>
                <c:pt idx="1">
                  <c:v>Equate</c:v>
                </c:pt>
                <c:pt idx="2">
                  <c:v>Gillette</c:v>
                </c:pt>
                <c:pt idx="3">
                  <c:v>Harry's</c:v>
                </c:pt>
                <c:pt idx="4">
                  <c:v>Van Der Hagen</c:v>
                </c:pt>
              </c:strCache>
            </c:strRef>
          </c:cat>
          <c:val>
            <c:numRef>
              <c:f>Sheet1!$D$2:$D$6</c:f>
              <c:numCache>
                <c:formatCode>General</c:formatCode>
                <c:ptCount val="5"/>
                <c:pt idx="0">
                  <c:v>14.0</c:v>
                </c:pt>
                <c:pt idx="1">
                  <c:v>3.5</c:v>
                </c:pt>
                <c:pt idx="2">
                  <c:v>14.483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0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Schick</c:v>
                </c:pt>
                <c:pt idx="1">
                  <c:v>Equate</c:v>
                </c:pt>
                <c:pt idx="2">
                  <c:v>Gillette</c:v>
                </c:pt>
                <c:pt idx="3">
                  <c:v>Harry's</c:v>
                </c:pt>
                <c:pt idx="4">
                  <c:v>Van Der Hagen</c:v>
                </c:pt>
              </c:strCache>
            </c:strRef>
          </c:cat>
          <c:val>
            <c:numRef>
              <c:f>Sheet1!$E$2:$E$6</c:f>
              <c:numCache>
                <c:formatCode>General</c:formatCode>
                <c:ptCount val="5"/>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3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6</c:f>
              <c:strCache>
                <c:ptCount val="5"/>
                <c:pt idx="0">
                  <c:v>Schick</c:v>
                </c:pt>
                <c:pt idx="1">
                  <c:v>Equate</c:v>
                </c:pt>
                <c:pt idx="2">
                  <c:v>Gillette</c:v>
                </c:pt>
                <c:pt idx="3">
                  <c:v>Harry's</c:v>
                </c:pt>
                <c:pt idx="4">
                  <c:v>Van Der Hagen</c:v>
                </c:pt>
              </c:strCache>
            </c:strRef>
          </c:cat>
          <c:val>
            <c:numRef>
              <c:f>Sheet1!$F$2:$F$6</c:f>
              <c:numCache>
                <c:formatCode>General</c:formatCode>
                <c:ptCount val="5"/>
                <c:pt idx="0">
                  <c:v>9.5919</c:v>
                </c:pt>
                <c:pt idx="2">
                  <c:v>12.661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Schick</c:v>
                </c:pt>
                <c:pt idx="1">
                  <c:v>Equate</c:v>
                </c:pt>
                <c:pt idx="2">
                  <c:v>Gillette</c:v>
                </c:pt>
                <c:pt idx="3">
                  <c:v>Harry's</c:v>
                </c:pt>
                <c:pt idx="4">
                  <c:v>Van Der Hagen</c:v>
                </c:pt>
              </c:strCache>
            </c:strRef>
          </c:cat>
          <c:val>
            <c:numRef>
              <c:f>Sheet1!$G$2:$G$6</c:f>
              <c:numCache>
                <c:formatCode>General</c:formatCode>
                <c:ptCount val="5"/>
                <c:pt idx="3">
                  <c:v>16.1881</c:v>
                </c:pt>
                <c:pt idx="4">
                  <c:v>17.9598</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Schick</c:v>
                </c:pt>
                <c:pt idx="1">
                  <c:v>Equate</c:v>
                </c:pt>
                <c:pt idx="2">
                  <c:v>Gillette</c:v>
                </c:pt>
                <c:pt idx="3">
                  <c:v>Harry's</c:v>
                </c:pt>
                <c:pt idx="4">
                  <c:v>Van Der Hagen</c:v>
                </c:pt>
              </c:strCache>
            </c:strRef>
          </c:cat>
          <c:val>
            <c:numRef>
              <c:f>Sheet1!$H$2:$H$6</c:f>
              <c:numCache>
                <c:formatCode>General</c:formatCode>
                <c:ptCount val="5"/>
                <c:pt idx="2">
                  <c:v>20.9216</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7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Schick</c:v>
                </c:pt>
                <c:pt idx="1">
                  <c:v>Equate</c:v>
                </c:pt>
                <c:pt idx="2">
                  <c:v>Gillette</c:v>
                </c:pt>
                <c:pt idx="3">
                  <c:v>Harry's</c:v>
                </c:pt>
                <c:pt idx="4">
                  <c:v>Van Der Hagen</c:v>
                </c:pt>
              </c:strCache>
            </c:strRef>
          </c:cat>
          <c:val>
            <c:numRef>
              <c:f>Sheet1!$I$2:$I$6</c:f>
              <c:numCache>
                <c:formatCode>General</c:formatCode>
                <c:ptCount val="5"/>
                <c:pt idx="2">
                  <c:v>28.5356</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Schick</c:v>
                </c:pt>
                <c:pt idx="1">
                  <c:v>Equate</c:v>
                </c:pt>
                <c:pt idx="2">
                  <c:v>Gillette</c:v>
                </c:pt>
                <c:pt idx="3">
                  <c:v>Harry's</c:v>
                </c:pt>
                <c:pt idx="4">
                  <c:v>Dollar Shave Club</c:v>
                </c:pt>
              </c:strCache>
            </c:strRef>
          </c:cat>
          <c:val>
            <c:numRef>
              <c:f>Sheet1!$B$2:$B$6</c:f>
              <c:numCache>
                <c:formatCode>General</c:formatCode>
                <c:ptCount val="5"/>
                <c:pt idx="1">
                  <c:v>3.0</c:v>
                </c:pt>
                <c:pt idx="2">
                  <c:v>26.918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6</c:f>
              <c:strCache>
                <c:ptCount val="5"/>
                <c:pt idx="0">
                  <c:v>Schick</c:v>
                </c:pt>
                <c:pt idx="1">
                  <c:v>Equate</c:v>
                </c:pt>
                <c:pt idx="2">
                  <c:v>Gillette</c:v>
                </c:pt>
                <c:pt idx="3">
                  <c:v>Harry's</c:v>
                </c:pt>
                <c:pt idx="4">
                  <c:v>Dollar Shave Club</c:v>
                </c:pt>
              </c:strCache>
            </c:strRef>
          </c:cat>
          <c:val>
            <c:numRef>
              <c:f>Sheet1!$C$2:$C$6</c:f>
              <c:numCache>
                <c:formatCode>General</c:formatCode>
                <c:ptCount val="5"/>
                <c:pt idx="0">
                  <c:v>25.8588</c:v>
                </c:pt>
                <c:pt idx="1">
                  <c:v>19.4787</c:v>
                </c:pt>
                <c:pt idx="2">
                  <c:v>39.3748</c:v>
                </c:pt>
                <c:pt idx="3">
                  <c:v>24.325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Schick</c:v>
                </c:pt>
                <c:pt idx="1">
                  <c:v>Equate</c:v>
                </c:pt>
                <c:pt idx="2">
                  <c:v>Gillette</c:v>
                </c:pt>
                <c:pt idx="3">
                  <c:v>Harry's</c:v>
                </c:pt>
                <c:pt idx="4">
                  <c:v>Dollar Shave Club</c:v>
                </c:pt>
              </c:strCache>
            </c:strRef>
          </c:cat>
          <c:val>
            <c:numRef>
              <c:f>Sheet1!$D$2:$D$6</c:f>
              <c:numCache>
                <c:formatCode>General</c:formatCode>
                <c:ptCount val="5"/>
                <c:pt idx="2">
                  <c:v>37.783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Schick</c:v>
                </c:pt>
                <c:pt idx="1">
                  <c:v>Equate</c:v>
                </c:pt>
                <c:pt idx="2">
                  <c:v>Gillette</c:v>
                </c:pt>
                <c:pt idx="3">
                  <c:v>Harry's</c:v>
                </c:pt>
                <c:pt idx="4">
                  <c:v>Dollar Shave Club</c:v>
                </c:pt>
              </c:strCache>
            </c:strRef>
          </c:cat>
          <c:val>
            <c:numRef>
              <c:f>Sheet1!$E$2:$E$6</c:f>
              <c:numCache>
                <c:formatCode>General</c:formatCode>
                <c:ptCount val="5"/>
                <c:pt idx="1">
                  <c:v>18.5</c:v>
                </c:pt>
                <c:pt idx="2">
                  <c:v>35.786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6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6</c:f>
              <c:strCache>
                <c:ptCount val="5"/>
                <c:pt idx="0">
                  <c:v>Schick</c:v>
                </c:pt>
                <c:pt idx="1">
                  <c:v>Equate</c:v>
                </c:pt>
                <c:pt idx="2">
                  <c:v>Gillette</c:v>
                </c:pt>
                <c:pt idx="3">
                  <c:v>Harry's</c:v>
                </c:pt>
                <c:pt idx="4">
                  <c:v>Dollar Shave Club</c:v>
                </c:pt>
              </c:strCache>
            </c:strRef>
          </c:cat>
          <c:val>
            <c:numRef>
              <c:f>Sheet1!$F$2:$F$6</c:f>
              <c:numCache>
                <c:formatCode>General</c:formatCode>
                <c:ptCount val="5"/>
                <c:pt idx="2">
                  <c:v>39.326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0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Schick</c:v>
                </c:pt>
                <c:pt idx="1">
                  <c:v>Equate</c:v>
                </c:pt>
                <c:pt idx="2">
                  <c:v>Gillette</c:v>
                </c:pt>
                <c:pt idx="3">
                  <c:v>Harry's</c:v>
                </c:pt>
                <c:pt idx="4">
                  <c:v>Dollar Shave Club</c:v>
                </c:pt>
              </c:strCache>
            </c:strRef>
          </c:cat>
          <c:val>
            <c:numRef>
              <c:f>Sheet1!$G$2:$G$6</c:f>
              <c:numCache>
                <c:formatCode>General</c:formatCode>
                <c:ptCount val="5"/>
                <c:pt idx="2">
                  <c:v>36.7411</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Schick</c:v>
                </c:pt>
                <c:pt idx="1">
                  <c:v>Equate</c:v>
                </c:pt>
                <c:pt idx="2">
                  <c:v>Gillette</c:v>
                </c:pt>
                <c:pt idx="3">
                  <c:v>Harry's</c:v>
                </c:pt>
                <c:pt idx="4">
                  <c:v>Dollar Shave Club</c:v>
                </c:pt>
              </c:strCache>
            </c:strRef>
          </c:cat>
          <c:val>
            <c:numRef>
              <c:f>Sheet1!$H$2:$H$6</c:f>
              <c:numCache>
                <c:formatCode>General</c:formatCode>
                <c:ptCount val="5"/>
                <c:pt idx="0">
                  <c:v>4.8825</c:v>
                </c:pt>
                <c:pt idx="2">
                  <c:v>12.5406</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5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Schick</c:v>
                </c:pt>
                <c:pt idx="1">
                  <c:v>Equate</c:v>
                </c:pt>
                <c:pt idx="2">
                  <c:v>Gillette</c:v>
                </c:pt>
                <c:pt idx="3">
                  <c:v>Harry's</c:v>
                </c:pt>
                <c:pt idx="4">
                  <c:v>Dollar Shave Club</c:v>
                </c:pt>
              </c:strCache>
            </c:strRef>
          </c:cat>
          <c:val>
            <c:numRef>
              <c:f>Sheet1!$I$2:$I$6</c:f>
              <c:numCache>
                <c:formatCode>General</c:formatCode>
                <c:ptCount val="5"/>
                <c:pt idx="0">
                  <c:v>11.7188</c:v>
                </c:pt>
                <c:pt idx="1">
                  <c:v>5.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6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Schick</c:v>
                </c:pt>
                <c:pt idx="1">
                  <c:v>Equate</c:v>
                </c:pt>
                <c:pt idx="2">
                  <c:v>Gillette</c:v>
                </c:pt>
                <c:pt idx="3">
                  <c:v>Harry's</c:v>
                </c:pt>
                <c:pt idx="4">
                  <c:v>Dollar Shave Club</c:v>
                </c:pt>
              </c:strCache>
            </c:strRef>
          </c:cat>
          <c:val>
            <c:numRef>
              <c:f>Sheet1!$J$2:$J$6</c:f>
              <c:numCache>
                <c:formatCode>General</c:formatCode>
                <c:ptCount val="5"/>
                <c:pt idx="0">
                  <c:v>15.194</c:v>
                </c:pt>
                <c:pt idx="2">
                  <c:v>31.8341</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7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6</c:f>
              <c:strCache>
                <c:ptCount val="5"/>
                <c:pt idx="0">
                  <c:v>Schick</c:v>
                </c:pt>
                <c:pt idx="1">
                  <c:v>Equate</c:v>
                </c:pt>
                <c:pt idx="2">
                  <c:v>Gillette</c:v>
                </c:pt>
                <c:pt idx="3">
                  <c:v>Harry's</c:v>
                </c:pt>
                <c:pt idx="4">
                  <c:v>Dollar Shave Club</c:v>
                </c:pt>
              </c:strCache>
            </c:strRef>
          </c:cat>
          <c:val>
            <c:numRef>
              <c:f>Sheet1!$K$2:$K$6</c:f>
              <c:numCache>
                <c:formatCode>General</c:formatCode>
                <c:ptCount val="5"/>
                <c:pt idx="0">
                  <c:v>5.4197</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8CT</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Schick</c:v>
                </c:pt>
                <c:pt idx="1">
                  <c:v>Equate</c:v>
                </c:pt>
                <c:pt idx="2">
                  <c:v>Gillette</c:v>
                </c:pt>
                <c:pt idx="3">
                  <c:v>Harry's</c:v>
                </c:pt>
                <c:pt idx="4">
                  <c:v>Dollar Shave Club</c:v>
                </c:pt>
              </c:strCache>
            </c:strRef>
          </c:cat>
          <c:val>
            <c:numRef>
              <c:f>Sheet1!$L$2:$L$6</c:f>
              <c:numCache>
                <c:formatCode>General</c:formatCode>
                <c:ptCount val="5"/>
                <c:pt idx="0">
                  <c:v>13.0096</c:v>
                </c:pt>
                <c:pt idx="1">
                  <c:v>15.2905</c:v>
                </c:pt>
                <c:pt idx="2">
                  <c:v>29.6969</c:v>
                </c:pt>
                <c:pt idx="3">
                  <c:v>17.1079</c:v>
                </c:pt>
                <c:pt idx="4">
                  <c:v>16.697</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CT</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Schick</c:v>
                </c:pt>
                <c:pt idx="1">
                  <c:v>Equate</c:v>
                </c:pt>
                <c:pt idx="2">
                  <c:v>Gillette</c:v>
                </c:pt>
                <c:pt idx="3">
                  <c:v>Harry's</c:v>
                </c:pt>
                <c:pt idx="4">
                  <c:v>Dollar Shave Club</c:v>
                </c:pt>
              </c:strCache>
            </c:strRef>
          </c:cat>
          <c:val>
            <c:numRef>
              <c:f>Sheet1!$M$2:$M$6</c:f>
              <c:numCache>
                <c:formatCode>General</c:formatCode>
                <c:ptCount val="5"/>
                <c:pt idx="2">
                  <c:v>37.0321</c:v>
                </c:pt>
              </c:numCache>
            </c:numRef>
          </c:val>
          <c:smooth val="0"/>
          <c:extLst>
            <c:ext xmlns:c16="http://schemas.microsoft.com/office/drawing/2014/chart" uri="{C3380CC4-5D6E-409C-BE32-E72D297353CC}">
              <c16:uniqueId val="{0000001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Schick</c:v>
                </c:pt>
                <c:pt idx="1">
                  <c:v>Equate</c:v>
                </c:pt>
                <c:pt idx="2">
                  <c:v>Gillette</c:v>
                </c:pt>
                <c:pt idx="3">
                  <c:v>Harry's</c:v>
                </c:pt>
                <c:pt idx="4">
                  <c:v>Dollar Shave Club</c:v>
                </c:pt>
                <c:pt idx="5">
                  <c:v>Van Der Hagen</c:v>
                </c:pt>
              </c:strCache>
            </c:strRef>
          </c:cat>
          <c:val>
            <c:numRef>
              <c:f>Sheet1!$B$2:$B$7</c:f>
              <c:numCache>
                <c:formatCode>General</c:formatCode>
                <c:ptCount val="6"/>
                <c:pt idx="1">
                  <c:v>3.0</c:v>
                </c:pt>
                <c:pt idx="2">
                  <c:v>24.7129</c:v>
                </c:pt>
                <c:pt idx="5">
                  <c:v>2.98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Schick</c:v>
                </c:pt>
                <c:pt idx="1">
                  <c:v>Equate</c:v>
                </c:pt>
                <c:pt idx="2">
                  <c:v>Gillette</c:v>
                </c:pt>
                <c:pt idx="3">
                  <c:v>Harry's</c:v>
                </c:pt>
                <c:pt idx="4">
                  <c:v>Dollar Shave Club</c:v>
                </c:pt>
                <c:pt idx="5">
                  <c:v>Van Der Hagen</c:v>
                </c:pt>
              </c:strCache>
            </c:strRef>
          </c:cat>
          <c:val>
            <c:numRef>
              <c:f>Sheet1!$C$2:$C$7</c:f>
              <c:numCache>
                <c:formatCode>General</c:formatCode>
                <c:ptCount val="6"/>
                <c:pt idx="0">
                  <c:v>26.197</c:v>
                </c:pt>
                <c:pt idx="1">
                  <c:v>19.48</c:v>
                </c:pt>
                <c:pt idx="2">
                  <c:v>36.667</c:v>
                </c:pt>
                <c:pt idx="3">
                  <c:v>23.963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Schick</c:v>
                </c:pt>
                <c:pt idx="1">
                  <c:v>Equate</c:v>
                </c:pt>
                <c:pt idx="2">
                  <c:v>Gillette</c:v>
                </c:pt>
                <c:pt idx="3">
                  <c:v>Harry's</c:v>
                </c:pt>
                <c:pt idx="4">
                  <c:v>Dollar Shave Club</c:v>
                </c:pt>
                <c:pt idx="5">
                  <c:v>Van Der Hagen</c:v>
                </c:pt>
              </c:strCache>
            </c:strRef>
          </c:cat>
          <c:val>
            <c:numRef>
              <c:f>Sheet1!$D$2:$D$7</c:f>
              <c:numCache>
                <c:formatCode>General</c:formatCode>
                <c:ptCount val="6"/>
                <c:pt idx="1">
                  <c:v>18.5</c:v>
                </c:pt>
                <c:pt idx="2">
                  <c:v>36.750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Schick</c:v>
                </c:pt>
                <c:pt idx="1">
                  <c:v>Equate</c:v>
                </c:pt>
                <c:pt idx="2">
                  <c:v>Gillette</c:v>
                </c:pt>
                <c:pt idx="3">
                  <c:v>Harry's</c:v>
                </c:pt>
                <c:pt idx="4">
                  <c:v>Dollar Shave Club</c:v>
                </c:pt>
                <c:pt idx="5">
                  <c:v>Van Der Hagen</c:v>
                </c:pt>
              </c:strCache>
            </c:strRef>
          </c:cat>
          <c:val>
            <c:numRef>
              <c:f>Sheet1!$E$2:$E$7</c:f>
              <c:numCache>
                <c:formatCode>General</c:formatCode>
                <c:ptCount val="6"/>
                <c:pt idx="0">
                  <c:v>8.3459</c:v>
                </c:pt>
                <c:pt idx="1">
                  <c:v>5.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Schick</c:v>
                </c:pt>
                <c:pt idx="1">
                  <c:v>Equate</c:v>
                </c:pt>
                <c:pt idx="2">
                  <c:v>Gillette</c:v>
                </c:pt>
                <c:pt idx="3">
                  <c:v>Harry's</c:v>
                </c:pt>
                <c:pt idx="4">
                  <c:v>Dollar Shave Club</c:v>
                </c:pt>
                <c:pt idx="5">
                  <c:v>Van Der Hagen</c:v>
                </c:pt>
              </c:strCache>
            </c:strRef>
          </c:cat>
          <c:val>
            <c:numRef>
              <c:f>Sheet1!$F$2:$F$7</c:f>
              <c:numCache>
                <c:formatCode>General</c:formatCode>
                <c:ptCount val="6"/>
                <c:pt idx="0">
                  <c:v>14.5899</c:v>
                </c:pt>
                <c:pt idx="2">
                  <c:v>34.2743</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7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Schick</c:v>
                </c:pt>
                <c:pt idx="1">
                  <c:v>Equate</c:v>
                </c:pt>
                <c:pt idx="2">
                  <c:v>Gillette</c:v>
                </c:pt>
                <c:pt idx="3">
                  <c:v>Harry's</c:v>
                </c:pt>
                <c:pt idx="4">
                  <c:v>Dollar Shave Club</c:v>
                </c:pt>
                <c:pt idx="5">
                  <c:v>Van Der Hagen</c:v>
                </c:pt>
              </c:strCache>
            </c:strRef>
          </c:cat>
          <c:val>
            <c:numRef>
              <c:f>Sheet1!$G$2:$G$7</c:f>
              <c:numCache>
                <c:formatCode>General</c:formatCode>
                <c:ptCount val="6"/>
                <c:pt idx="0">
                  <c:v>4.0</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Schick</c:v>
                </c:pt>
                <c:pt idx="1">
                  <c:v>Equate</c:v>
                </c:pt>
                <c:pt idx="2">
                  <c:v>Gillette</c:v>
                </c:pt>
                <c:pt idx="3">
                  <c:v>Harry's</c:v>
                </c:pt>
                <c:pt idx="4">
                  <c:v>Dollar Shave Club</c:v>
                </c:pt>
                <c:pt idx="5">
                  <c:v>Van Der Hagen</c:v>
                </c:pt>
              </c:strCache>
            </c:strRef>
          </c:cat>
          <c:val>
            <c:numRef>
              <c:f>Sheet1!$H$2:$H$7</c:f>
              <c:numCache>
                <c:formatCode>General</c:formatCode>
                <c:ptCount val="6"/>
                <c:pt idx="4">
                  <c:v>16.9131</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Schick</c:v>
                  </c:pt>
                  <c:pt idx="4">
                    <c:v>Equate</c:v>
                  </c:pt>
                  <c:pt idx="6">
                    <c:v>Cremo</c:v>
                  </c:pt>
                </c:lvl>
              </c:multiLvlStrCache>
            </c:multiLvlStrRef>
          </c:cat>
          <c:val>
            <c:numRef>
              <c:f>Sheet1!$C$2:$C$8</c:f>
              <c:numCache>
                <c:formatCode>General</c:formatCode>
                <c:ptCount val="7"/>
                <c:pt idx="0">
                  <c:v>27.0196</c:v>
                </c:pt>
                <c:pt idx="1">
                  <c:v>10.6879</c:v>
                </c:pt>
                <c:pt idx="2">
                  <c:v>12.5455</c:v>
                </c:pt>
                <c:pt idx="5">
                  <c:v>3.0</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Schick</c:v>
                  </c:pt>
                  <c:pt idx="4">
                    <c:v>Equate</c:v>
                  </c:pt>
                  <c:pt idx="6">
                    <c:v>Cremo</c:v>
                  </c:pt>
                </c:lvl>
              </c:multiLvlStrCache>
            </c:multiLvlStrRef>
          </c:cat>
          <c:val>
            <c:numRef>
              <c:f>Sheet1!$D$2:$D$8</c:f>
              <c:numCache>
                <c:formatCode>General</c:formatCode>
                <c:ptCount val="7"/>
                <c:pt idx="2">
                  <c:v>8.4028</c:v>
                </c:pt>
                <c:pt idx="3">
                  <c:v>25.8589</c:v>
                </c:pt>
                <c:pt idx="4">
                  <c:v>2.1772</c:v>
                </c:pt>
                <c:pt idx="5">
                  <c:v>19.478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5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Schick</c:v>
                  </c:pt>
                  <c:pt idx="4">
                    <c:v>Equate</c:v>
                  </c:pt>
                  <c:pt idx="6">
                    <c:v>Cremo</c:v>
                  </c:pt>
                </c:lvl>
              </c:multiLvlStrCache>
            </c:multiLvlStrRef>
          </c:cat>
          <c:val>
            <c:numRef>
              <c:f>Sheet1!$E$2:$E$8</c:f>
              <c:numCache>
                <c:formatCode>General</c:formatCode>
                <c:ptCount val="7"/>
                <c:pt idx="0">
                  <c:v>35.7868</c:v>
                </c:pt>
                <c:pt idx="5">
                  <c:v>18.5</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6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Schick</c:v>
                  </c:pt>
                  <c:pt idx="4">
                    <c:v>Equate</c:v>
                  </c:pt>
                  <c:pt idx="6">
                    <c:v>Cremo</c:v>
                  </c:pt>
                </c:lvl>
              </c:multiLvlStrCache>
            </c:multiLvlStrRef>
          </c:cat>
          <c:val>
            <c:numRef>
              <c:f>Sheet1!$F$2:$F$8</c:f>
              <c:numCache>
                <c:formatCode>General</c:formatCode>
                <c:ptCount val="7"/>
                <c:pt idx="3">
                  <c:v>27.5854</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7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Schick</c:v>
                  </c:pt>
                  <c:pt idx="4">
                    <c:v>Equate</c:v>
                  </c:pt>
                  <c:pt idx="6">
                    <c:v>Cremo</c:v>
                  </c:pt>
                </c:lvl>
              </c:multiLvlStrCache>
            </c:multiLvlStrRef>
          </c:cat>
          <c:val>
            <c:numRef>
              <c:f>Sheet1!$G$2:$G$8</c:f>
              <c:numCache>
                <c:formatCode>General</c:formatCode>
                <c:ptCount val="7"/>
                <c:pt idx="3">
                  <c:v>36.9472</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Schick</c:v>
                  </c:pt>
                  <c:pt idx="4">
                    <c:v>Equate</c:v>
                  </c:pt>
                  <c:pt idx="6">
                    <c:v>Cremo</c:v>
                  </c:pt>
                </c:lvl>
              </c:multiLvlStrCache>
            </c:multiLvlStrRef>
          </c:cat>
          <c:val>
            <c:numRef>
              <c:f>Sheet1!$H$2:$H$8</c:f>
              <c:numCache>
                <c:formatCode>General</c:formatCode>
                <c:ptCount val="7"/>
                <c:pt idx="1">
                  <c:v>14.8953</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Schick</c:v>
                  </c:pt>
                  <c:pt idx="4">
                    <c:v>Equate</c:v>
                  </c:pt>
                  <c:pt idx="6">
                    <c:v>Cremo</c:v>
                  </c:pt>
                </c:lvl>
              </c:multiLvlStrCache>
            </c:multiLvlStrRef>
          </c:cat>
          <c:val>
            <c:numRef>
              <c:f>Sheet1!$I$2:$I$8</c:f>
              <c:numCache>
                <c:formatCode>General</c:formatCode>
                <c:ptCount val="7"/>
                <c:pt idx="2">
                  <c:v>2.5752</c:v>
                </c:pt>
                <c:pt idx="3">
                  <c:v>5.4337</c:v>
                </c:pt>
                <c:pt idx="5">
                  <c:v>4.0</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CT</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Schick</c:v>
                  </c:pt>
                  <c:pt idx="4">
                    <c:v>Equate</c:v>
                  </c:pt>
                  <c:pt idx="6">
                    <c:v>Cremo</c:v>
                  </c:pt>
                </c:lvl>
              </c:multiLvlStrCache>
            </c:multiLvlStrRef>
          </c:cat>
          <c:val>
            <c:numRef>
              <c:f>Sheet1!$J$2:$J$8</c:f>
              <c:numCache>
                <c:formatCode>General</c:formatCode>
                <c:ptCount val="7"/>
                <c:pt idx="2">
                  <c:v>18.1866</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1CT</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Schick</c:v>
                  </c:pt>
                  <c:pt idx="4">
                    <c:v>Equate</c:v>
                  </c:pt>
                  <c:pt idx="6">
                    <c:v>Cremo</c:v>
                  </c:pt>
                </c:lvl>
              </c:multiLvlStrCache>
            </c:multiLvlStrRef>
          </c:cat>
          <c:val>
            <c:numRef>
              <c:f>Sheet1!$K$2:$K$8</c:f>
              <c:numCache>
                <c:formatCode>General</c:formatCode>
                <c:ptCount val="7"/>
                <c:pt idx="1">
                  <c:v>20.5309</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5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Schick</c:v>
                  </c:pt>
                  <c:pt idx="4">
                    <c:v>Equate</c:v>
                  </c:pt>
                  <c:pt idx="6">
                    <c:v>Cremo</c:v>
                  </c:pt>
                </c:lvl>
              </c:multiLvlStrCache>
            </c:multiLvlStrRef>
          </c:cat>
          <c:val>
            <c:numRef>
              <c:f>Sheet1!$L$2:$L$8</c:f>
              <c:numCache>
                <c:formatCode>General</c:formatCode>
                <c:ptCount val="7"/>
                <c:pt idx="2">
                  <c:v>21.7178</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CT</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Schick</c:v>
                  </c:pt>
                  <c:pt idx="4">
                    <c:v>Equate</c:v>
                  </c:pt>
                  <c:pt idx="6">
                    <c:v>Cremo</c:v>
                  </c:pt>
                </c:lvl>
              </c:multiLvlStrCache>
            </c:multiLvlStrRef>
          </c:cat>
          <c:val>
            <c:numRef>
              <c:f>Sheet1!$M$2:$M$8</c:f>
              <c:numCache>
                <c:formatCode>General</c:formatCode>
                <c:ptCount val="7"/>
                <c:pt idx="1">
                  <c:v>10.1918</c:v>
                </c:pt>
                <c:pt idx="2">
                  <c:v>2.9434</c:v>
                </c:pt>
                <c:pt idx="3">
                  <c:v>8.7883</c:v>
                </c:pt>
                <c:pt idx="4">
                  <c:v>2.1102</c:v>
                </c:pt>
                <c:pt idx="5">
                  <c:v>8.4393</c:v>
                </c:pt>
                <c:pt idx="6">
                  <c:v>14.3525</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3CT</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Schick</c:v>
                  </c:pt>
                  <c:pt idx="4">
                    <c:v>Equate</c:v>
                  </c:pt>
                  <c:pt idx="6">
                    <c:v>Cremo</c:v>
                  </c:pt>
                </c:lvl>
              </c:multiLvlStrCache>
            </c:multiLvlStrRef>
          </c:cat>
          <c:val>
            <c:numRef>
              <c:f>Sheet1!$N$2:$N$8</c:f>
              <c:numCache>
                <c:formatCode>General</c:formatCode>
                <c:ptCount val="7"/>
                <c:pt idx="1">
                  <c:v>7.1175</c:v>
                </c:pt>
                <c:pt idx="2">
                  <c:v>9.1257</c:v>
                </c:pt>
                <c:pt idx="3">
                  <c:v>10.1699</c:v>
                </c:pt>
                <c:pt idx="4">
                  <c:v>5.0496</c:v>
                </c:pt>
                <c:pt idx="6">
                  <c:v>9.6875</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4CT</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Schick</c:v>
                  </c:pt>
                  <c:pt idx="4">
                    <c:v>Equate</c:v>
                  </c:pt>
                  <c:pt idx="6">
                    <c:v>Cremo</c:v>
                  </c:pt>
                </c:lvl>
              </c:multiLvlStrCache>
            </c:multiLvlStrRef>
          </c:cat>
          <c:val>
            <c:numRef>
              <c:f>Sheet1!$O$2:$O$8</c:f>
              <c:numCache>
                <c:formatCode>General</c:formatCode>
                <c:ptCount val="7"/>
                <c:pt idx="2">
                  <c:v>7.0706</c:v>
                </c:pt>
                <c:pt idx="3">
                  <c:v>11.443</c:v>
                </c:pt>
                <c:pt idx="4">
                  <c:v>3.97</c:v>
                </c:pt>
                <c:pt idx="5">
                  <c:v>8.9443</c:v>
                </c:pt>
                <c:pt idx="6">
                  <c:v>12.7214</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52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Schick</c:v>
                  </c:pt>
                  <c:pt idx="4">
                    <c:v>Equate</c:v>
                  </c:pt>
                  <c:pt idx="6">
                    <c:v>Cremo</c:v>
                  </c:pt>
                </c:lvl>
              </c:multiLvlStrCache>
            </c:multiLvlStrRef>
          </c:cat>
          <c:val>
            <c:numRef>
              <c:f>Sheet1!$P$2:$P$8</c:f>
              <c:numCache>
                <c:formatCode>General</c:formatCode>
                <c:ptCount val="7"/>
                <c:pt idx="1">
                  <c:v>31.2642</c:v>
                </c:pt>
              </c:numCache>
            </c:numRef>
          </c:val>
          <c:smooth val="0"/>
          <c:extLst>
            <c:ext xmlns:c16="http://schemas.microsoft.com/office/drawing/2014/chart" uri="{C3380CC4-5D6E-409C-BE32-E72D297353CC}">
              <c16:uniqueId val="{0000002B-47B4-4CC0-A4CC-244654BFF3D5}"/>
            </c:ext>
          </c:extLst>
        </c:ser>
        <c:ser>
          <c:idx val="16"/>
          <c:order val="14"/>
          <c:tx>
            <c:strRef>
              <c:f>Sheet1!$Q$1</c:f>
              <c:strCache>
                <c:ptCount val="1"/>
                <c:pt idx="0">
                  <c:v>5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Schick</c:v>
                  </c:pt>
                  <c:pt idx="4">
                    <c:v>Equate</c:v>
                  </c:pt>
                  <c:pt idx="6">
                    <c:v>Cremo</c:v>
                  </c:pt>
                </c:lvl>
              </c:multiLvlStrCache>
            </c:multiLvlStrRef>
          </c:cat>
          <c:val>
            <c:numRef>
              <c:f>Sheet1!$Q$2:$Q$8</c:f>
              <c:numCache>
                <c:formatCode>General</c:formatCode>
                <c:ptCount val="7"/>
                <c:pt idx="0">
                  <c:v>23.4824</c:v>
                </c:pt>
                <c:pt idx="3">
                  <c:v>12.5425</c:v>
                </c:pt>
                <c:pt idx="4">
                  <c:v>1.0016</c:v>
                </c:pt>
                <c:pt idx="5">
                  <c:v>5.4</c:v>
                </c:pt>
                <c:pt idx="6">
                  <c:v>9.5861</c:v>
                </c:pt>
              </c:numCache>
            </c:numRef>
          </c:val>
          <c:smooth val="0"/>
          <c:extLst>
            <c:ext xmlns:c16="http://schemas.microsoft.com/office/drawing/2014/chart" uri="{C3380CC4-5D6E-409C-BE32-E72D297353CC}">
              <c16:uniqueId val="{0000002B-47B4-4CC0-A4CC-244654BFF3D5}"/>
            </c:ext>
          </c:extLst>
        </c:ser>
        <c:ser>
          <c:idx val="17"/>
          <c:order val="15"/>
          <c:tx>
            <c:strRef>
              <c:f>Sheet1!$R$1</c:f>
              <c:strCache>
                <c:ptCount val="1"/>
                <c:pt idx="0">
                  <c:v>6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Schick</c:v>
                  </c:pt>
                  <c:pt idx="4">
                    <c:v>Equate</c:v>
                  </c:pt>
                  <c:pt idx="6">
                    <c:v>Cremo</c:v>
                  </c:pt>
                </c:lvl>
              </c:multiLvlStrCache>
            </c:multiLvlStrRef>
          </c:cat>
          <c:val>
            <c:numRef>
              <c:f>Sheet1!$R$2:$R$8</c:f>
              <c:numCache>
                <c:formatCode>General</c:formatCode>
                <c:ptCount val="7"/>
                <c:pt idx="0">
                  <c:v>22.3148</c:v>
                </c:pt>
                <c:pt idx="2">
                  <c:v>6.4316</c:v>
                </c:pt>
                <c:pt idx="3">
                  <c:v>15.194</c:v>
                </c:pt>
              </c:numCache>
            </c:numRef>
          </c:val>
          <c:smooth val="0"/>
          <c:extLst>
            <c:ext xmlns:c16="http://schemas.microsoft.com/office/drawing/2014/chart" uri="{C3380CC4-5D6E-409C-BE32-E72D297353CC}">
              <c16:uniqueId val="{0000002B-47B4-4CC0-A4CC-244654BFF3D5}"/>
            </c:ext>
          </c:extLst>
        </c:ser>
        <c:ser>
          <c:idx val="18"/>
          <c:order val="16"/>
          <c:tx>
            <c:strRef>
              <c:f>Sheet1!$S$1</c:f>
              <c:strCache>
                <c:ptCount val="1"/>
                <c:pt idx="0">
                  <c:v>7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Schick</c:v>
                  </c:pt>
                  <c:pt idx="4">
                    <c:v>Equate</c:v>
                  </c:pt>
                  <c:pt idx="6">
                    <c:v>Cremo</c:v>
                  </c:pt>
                </c:lvl>
              </c:multiLvlStrCache>
            </c:multiLvlStrRef>
          </c:cat>
          <c:val>
            <c:numRef>
              <c:f>Sheet1!$S$2:$S$8</c:f>
              <c:numCache>
                <c:formatCode>General</c:formatCode>
                <c:ptCount val="7"/>
                <c:pt idx="3">
                  <c:v>5.4197</c:v>
                </c:pt>
              </c:numCache>
            </c:numRef>
          </c:val>
          <c:smooth val="0"/>
          <c:extLst>
            <c:ext xmlns:c16="http://schemas.microsoft.com/office/drawing/2014/chart" uri="{C3380CC4-5D6E-409C-BE32-E72D297353CC}">
              <c16:uniqueId val="{0000002B-47B4-4CC0-A4CC-244654BFF3D5}"/>
            </c:ext>
          </c:extLst>
        </c:ser>
        <c:ser>
          <c:idx val="19"/>
          <c:order val="17"/>
          <c:tx>
            <c:strRef>
              <c:f>Sheet1!$T$1</c:f>
              <c:strCache>
                <c:ptCount val="1"/>
                <c:pt idx="0">
                  <c:v>8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Schick</c:v>
                  </c:pt>
                  <c:pt idx="4">
                    <c:v>Equate</c:v>
                  </c:pt>
                  <c:pt idx="6">
                    <c:v>Cremo</c:v>
                  </c:pt>
                </c:lvl>
              </c:multiLvlStrCache>
            </c:multiLvlStrRef>
          </c:cat>
          <c:val>
            <c:numRef>
              <c:f>Sheet1!$T$2:$T$8</c:f>
              <c:numCache>
                <c:formatCode>General</c:formatCode>
                <c:ptCount val="7"/>
                <c:pt idx="2">
                  <c:v>11.3234</c:v>
                </c:pt>
                <c:pt idx="3">
                  <c:v>13.0096</c:v>
                </c:pt>
                <c:pt idx="4">
                  <c:v>5.9797</c:v>
                </c:pt>
                <c:pt idx="5">
                  <c:v>15.2905</c:v>
                </c:pt>
              </c:numCache>
            </c:numRef>
          </c:val>
          <c:smooth val="0"/>
          <c:extLst>
            <c:ext xmlns:c16="http://schemas.microsoft.com/office/drawing/2014/chart" uri="{C3380CC4-5D6E-409C-BE32-E72D297353CC}">
              <c16:uniqueId val="{0000002B-47B4-4CC0-A4CC-244654BFF3D5}"/>
            </c:ext>
          </c:extLst>
        </c:ser>
        <c:ser>
          <c:idx val="20"/>
          <c:order val="18"/>
          <c:tx>
            <c:strRef>
              <c:f>Sheet1!$U$1</c:f>
              <c:strCache>
                <c:ptCount val="1"/>
                <c:pt idx="0">
                  <c:v>9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Schick</c:v>
                  </c:pt>
                  <c:pt idx="4">
                    <c:v>Equate</c:v>
                  </c:pt>
                  <c:pt idx="6">
                    <c:v>Cremo</c:v>
                  </c:pt>
                </c:lvl>
              </c:multiLvlStrCache>
            </c:multiLvlStrRef>
          </c:cat>
          <c:val>
            <c:numRef>
              <c:f>Sheet1!$U$2:$U$8</c:f>
              <c:numCache>
                <c:formatCode>General</c:formatCode>
                <c:ptCount val="7"/>
                <c:pt idx="0">
                  <c:v>31.7474</c:v>
                </c:pt>
                <c:pt idx="2">
                  <c:v>21.2495</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8</c:f>
              <c:multiLvlStrCache>
                <c:ptCount val="7"/>
                <c:lvl>
                  <c:pt idx="0">
                    <c:v>System</c:v>
                  </c:pt>
                  <c:pt idx="1">
                    <c:v>Disposables</c:v>
                  </c:pt>
                  <c:pt idx="2">
                    <c:v>Disposables</c:v>
                  </c:pt>
                  <c:pt idx="3">
                    <c:v>System</c:v>
                  </c:pt>
                  <c:pt idx="4">
                    <c:v>System</c:v>
                  </c:pt>
                  <c:pt idx="5">
                    <c:v>Disposables</c:v>
                  </c:pt>
                  <c:pt idx="6">
                    <c:v>System</c:v>
                  </c:pt>
                </c:lvl>
                <c:lvl>
                  <c:pt idx="0">
                    <c:v>Gillette</c:v>
                  </c:pt>
                  <c:pt idx="2">
                    <c:v>Schick</c:v>
                  </c:pt>
                  <c:pt idx="4">
                    <c:v>Cremo</c:v>
                  </c:pt>
                  <c:pt idx="5">
                    <c:v>Equate</c:v>
                  </c:pt>
                </c:lvl>
              </c:multiLvlStrCache>
            </c:multiLvlStrRef>
          </c:cat>
          <c:val>
            <c:numRef>
              <c:f>Sheet1!$C$2:$C$8</c:f>
              <c:numCache>
                <c:formatCode>General</c:formatCode>
                <c:ptCount val="7"/>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8</c:f>
              <c:multiLvlStrCache>
                <c:ptCount val="7"/>
                <c:lvl>
                  <c:pt idx="0">
                    <c:v>System</c:v>
                  </c:pt>
                  <c:pt idx="1">
                    <c:v>Disposables</c:v>
                  </c:pt>
                  <c:pt idx="2">
                    <c:v>Disposables</c:v>
                  </c:pt>
                  <c:pt idx="3">
                    <c:v>System</c:v>
                  </c:pt>
                  <c:pt idx="4">
                    <c:v>System</c:v>
                  </c:pt>
                  <c:pt idx="5">
                    <c:v>Disposables</c:v>
                  </c:pt>
                  <c:pt idx="6">
                    <c:v>System</c:v>
                  </c:pt>
                </c:lvl>
                <c:lvl>
                  <c:pt idx="0">
                    <c:v>Gillette</c:v>
                  </c:pt>
                  <c:pt idx="2">
                    <c:v>Schick</c:v>
                  </c:pt>
                  <c:pt idx="4">
                    <c:v>Cremo</c:v>
                  </c:pt>
                  <c:pt idx="5">
                    <c:v>Equate</c:v>
                  </c:pt>
                </c:lvl>
              </c:multiLvlStrCache>
            </c:multiLvlStrRef>
          </c:cat>
          <c:val>
            <c:numRef>
              <c:f>Sheet1!$D$2:$D$8</c:f>
              <c:numCache>
                <c:formatCode>General</c:formatCode>
                <c:ptCount val="7"/>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Disposables</c:v>
                  </c:pt>
                  <c:pt idx="2">
                    <c:v>Disposables</c:v>
                  </c:pt>
                  <c:pt idx="3">
                    <c:v>System</c:v>
                  </c:pt>
                  <c:pt idx="4">
                    <c:v>System</c:v>
                  </c:pt>
                  <c:pt idx="5">
                    <c:v>Disposables</c:v>
                  </c:pt>
                  <c:pt idx="6">
                    <c:v>System</c:v>
                  </c:pt>
                </c:lvl>
                <c:lvl>
                  <c:pt idx="0">
                    <c:v>Gillette</c:v>
                  </c:pt>
                  <c:pt idx="2">
                    <c:v>Schick</c:v>
                  </c:pt>
                  <c:pt idx="4">
                    <c:v>Cremo</c:v>
                  </c:pt>
                  <c:pt idx="5">
                    <c:v>Equate</c:v>
                  </c:pt>
                </c:lvl>
              </c:multiLvlStrCache>
            </c:multiLvlStrRef>
          </c:cat>
          <c:val>
            <c:numRef>
              <c:f>Sheet1!$E$2:$E$8</c:f>
              <c:numCache>
                <c:formatCode>General</c:formatCode>
                <c:ptCount val="7"/>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5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Disposables</c:v>
                  </c:pt>
                  <c:pt idx="2">
                    <c:v>Disposables</c:v>
                  </c:pt>
                  <c:pt idx="3">
                    <c:v>System</c:v>
                  </c:pt>
                  <c:pt idx="4">
                    <c:v>System</c:v>
                  </c:pt>
                  <c:pt idx="5">
                    <c:v>Disposables</c:v>
                  </c:pt>
                  <c:pt idx="6">
                    <c:v>System</c:v>
                  </c:pt>
                </c:lvl>
                <c:lvl>
                  <c:pt idx="0">
                    <c:v>Gillette</c:v>
                  </c:pt>
                  <c:pt idx="2">
                    <c:v>Schick</c:v>
                  </c:pt>
                  <c:pt idx="4">
                    <c:v>Cremo</c:v>
                  </c:pt>
                  <c:pt idx="5">
                    <c:v>Equate</c:v>
                  </c:pt>
                </c:lvl>
              </c:multiLvlStrCache>
            </c:multiLvlStrRef>
          </c:cat>
          <c:val>
            <c:numRef>
              <c:f>Sheet1!$F$2:$F$8</c:f>
              <c:numCache>
                <c:formatCode>General</c:formatCode>
                <c:ptCount val="7"/>
                <c:pt idx="0">
                  <c:v>39.5038</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6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8</c:f>
              <c:multiLvlStrCache>
                <c:ptCount val="7"/>
                <c:lvl>
                  <c:pt idx="0">
                    <c:v>System</c:v>
                  </c:pt>
                  <c:pt idx="1">
                    <c:v>Disposables</c:v>
                  </c:pt>
                  <c:pt idx="2">
                    <c:v>Disposables</c:v>
                  </c:pt>
                  <c:pt idx="3">
                    <c:v>System</c:v>
                  </c:pt>
                  <c:pt idx="4">
                    <c:v>System</c:v>
                  </c:pt>
                  <c:pt idx="5">
                    <c:v>Disposables</c:v>
                  </c:pt>
                  <c:pt idx="6">
                    <c:v>System</c:v>
                  </c:pt>
                </c:lvl>
                <c:lvl>
                  <c:pt idx="0">
                    <c:v>Gillette</c:v>
                  </c:pt>
                  <c:pt idx="2">
                    <c:v>Schick</c:v>
                  </c:pt>
                  <c:pt idx="4">
                    <c:v>Cremo</c:v>
                  </c:pt>
                  <c:pt idx="5">
                    <c:v>Equate</c:v>
                  </c:pt>
                </c:lvl>
              </c:multiLvlStrCache>
            </c:multiLvlStrRef>
          </c:cat>
          <c:val>
            <c:numRef>
              <c:f>Sheet1!$G$2:$G$8</c:f>
              <c:numCache>
                <c:formatCode>General</c:formatCode>
                <c:ptCount val="7"/>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7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8</c:f>
              <c:multiLvlStrCache>
                <c:ptCount val="7"/>
                <c:lvl>
                  <c:pt idx="0">
                    <c:v>System</c:v>
                  </c:pt>
                  <c:pt idx="1">
                    <c:v>Disposables</c:v>
                  </c:pt>
                  <c:pt idx="2">
                    <c:v>Disposables</c:v>
                  </c:pt>
                  <c:pt idx="3">
                    <c:v>System</c:v>
                  </c:pt>
                  <c:pt idx="4">
                    <c:v>System</c:v>
                  </c:pt>
                  <c:pt idx="5">
                    <c:v>Disposables</c:v>
                  </c:pt>
                  <c:pt idx="6">
                    <c:v>System</c:v>
                  </c:pt>
                </c:lvl>
                <c:lvl>
                  <c:pt idx="0">
                    <c:v>Gillette</c:v>
                  </c:pt>
                  <c:pt idx="2">
                    <c:v>Schick</c:v>
                  </c:pt>
                  <c:pt idx="4">
                    <c:v>Cremo</c:v>
                  </c:pt>
                  <c:pt idx="5">
                    <c:v>Equate</c:v>
                  </c:pt>
                </c:lvl>
              </c:multiLvlStrCache>
            </c:multiLvlStrRef>
          </c:cat>
          <c:val>
            <c:numRef>
              <c:f>Sheet1!$H$2:$H$8</c:f>
              <c:numCache>
                <c:formatCode>General</c:formatCode>
                <c:ptCount val="7"/>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8</c:f>
              <c:multiLvlStrCache>
                <c:ptCount val="7"/>
                <c:lvl>
                  <c:pt idx="0">
                    <c:v>System</c:v>
                  </c:pt>
                  <c:pt idx="1">
                    <c:v>Disposables</c:v>
                  </c:pt>
                  <c:pt idx="2">
                    <c:v>Disposables</c:v>
                  </c:pt>
                  <c:pt idx="3">
                    <c:v>System</c:v>
                  </c:pt>
                  <c:pt idx="4">
                    <c:v>System</c:v>
                  </c:pt>
                  <c:pt idx="5">
                    <c:v>Disposables</c:v>
                  </c:pt>
                  <c:pt idx="6">
                    <c:v>System</c:v>
                  </c:pt>
                </c:lvl>
                <c:lvl>
                  <c:pt idx="0">
                    <c:v>Gillette</c:v>
                  </c:pt>
                  <c:pt idx="2">
                    <c:v>Schick</c:v>
                  </c:pt>
                  <c:pt idx="4">
                    <c:v>Cremo</c:v>
                  </c:pt>
                  <c:pt idx="5">
                    <c:v>Equate</c:v>
                  </c:pt>
                </c:lvl>
              </c:multiLvlStrCache>
            </c:multiLvlStrRef>
          </c:cat>
          <c:val>
            <c:numRef>
              <c:f>Sheet1!$I$2:$I$8</c:f>
              <c:numCache>
                <c:formatCode>General</c:formatCode>
                <c:ptCount val="7"/>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CT</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Disposables</c:v>
                  </c:pt>
                  <c:pt idx="2">
                    <c:v>Disposables</c:v>
                  </c:pt>
                  <c:pt idx="3">
                    <c:v>System</c:v>
                  </c:pt>
                  <c:pt idx="4">
                    <c:v>System</c:v>
                  </c:pt>
                  <c:pt idx="5">
                    <c:v>Disposables</c:v>
                  </c:pt>
                  <c:pt idx="6">
                    <c:v>System</c:v>
                  </c:pt>
                </c:lvl>
                <c:lvl>
                  <c:pt idx="0">
                    <c:v>Gillette</c:v>
                  </c:pt>
                  <c:pt idx="2">
                    <c:v>Schick</c:v>
                  </c:pt>
                  <c:pt idx="4">
                    <c:v>Cremo</c:v>
                  </c:pt>
                  <c:pt idx="5">
                    <c:v>Equate</c:v>
                  </c:pt>
                </c:lvl>
              </c:multiLvlStrCache>
            </c:multiLvlStrRef>
          </c:cat>
          <c:val>
            <c:numRef>
              <c:f>Sheet1!$J$2:$J$8</c:f>
              <c:numCache>
                <c:formatCode>General</c:formatCode>
                <c:ptCount val="7"/>
                <c:pt idx="2">
                  <c:v>18.1376</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4CT</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8</c:f>
              <c:multiLvlStrCache>
                <c:ptCount val="7"/>
                <c:lvl>
                  <c:pt idx="0">
                    <c:v>System</c:v>
                  </c:pt>
                  <c:pt idx="1">
                    <c:v>Disposables</c:v>
                  </c:pt>
                  <c:pt idx="2">
                    <c:v>Disposables</c:v>
                  </c:pt>
                  <c:pt idx="3">
                    <c:v>System</c:v>
                  </c:pt>
                  <c:pt idx="4">
                    <c:v>System</c:v>
                  </c:pt>
                  <c:pt idx="5">
                    <c:v>Disposables</c:v>
                  </c:pt>
                  <c:pt idx="6">
                    <c:v>System</c:v>
                  </c:pt>
                </c:lvl>
                <c:lvl>
                  <c:pt idx="0">
                    <c:v>Gillette</c:v>
                  </c:pt>
                  <c:pt idx="2">
                    <c:v>Schick</c:v>
                  </c:pt>
                  <c:pt idx="4">
                    <c:v>Cremo</c:v>
                  </c:pt>
                  <c:pt idx="5">
                    <c:v>Equate</c:v>
                  </c:pt>
                </c:lvl>
              </c:multiLvlStrCache>
            </c:multiLvlStrRef>
          </c:cat>
          <c:val>
            <c:numRef>
              <c:f>Sheet1!$K$2:$K$8</c:f>
              <c:numCache>
                <c:formatCode>General</c:formatCode>
                <c:ptCount val="7"/>
                <c:pt idx="1">
                  <c:v>22.1711</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5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8</c:f>
              <c:multiLvlStrCache>
                <c:ptCount val="7"/>
                <c:lvl>
                  <c:pt idx="0">
                    <c:v>System</c:v>
                  </c:pt>
                  <c:pt idx="1">
                    <c:v>Disposables</c:v>
                  </c:pt>
                  <c:pt idx="2">
                    <c:v>Disposables</c:v>
                  </c:pt>
                  <c:pt idx="3">
                    <c:v>System</c:v>
                  </c:pt>
                  <c:pt idx="4">
                    <c:v>System</c:v>
                  </c:pt>
                  <c:pt idx="5">
                    <c:v>Disposables</c:v>
                  </c:pt>
                  <c:pt idx="6">
                    <c:v>System</c:v>
                  </c:pt>
                </c:lvl>
                <c:lvl>
                  <c:pt idx="0">
                    <c:v>Gillette</c:v>
                  </c:pt>
                  <c:pt idx="2">
                    <c:v>Schick</c:v>
                  </c:pt>
                  <c:pt idx="4">
                    <c:v>Cremo</c:v>
                  </c:pt>
                  <c:pt idx="5">
                    <c:v>Equate</c:v>
                  </c:pt>
                </c:lvl>
              </c:multiLvlStrCache>
            </c:multiLvlStrRef>
          </c:cat>
          <c:val>
            <c:numRef>
              <c:f>Sheet1!$L$2:$L$8</c:f>
              <c:numCache>
                <c:formatCode>General</c:formatCode>
                <c:ptCount val="7"/>
                <c:pt idx="2">
                  <c:v>21.7527</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CT</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Disposables</c:v>
                  </c:pt>
                  <c:pt idx="2">
                    <c:v>Disposables</c:v>
                  </c:pt>
                  <c:pt idx="3">
                    <c:v>System</c:v>
                  </c:pt>
                  <c:pt idx="4">
                    <c:v>System</c:v>
                  </c:pt>
                  <c:pt idx="5">
                    <c:v>Disposables</c:v>
                  </c:pt>
                  <c:pt idx="6">
                    <c:v>System</c:v>
                  </c:pt>
                </c:lvl>
                <c:lvl>
                  <c:pt idx="0">
                    <c:v>Gillette</c:v>
                  </c:pt>
                  <c:pt idx="2">
                    <c:v>Schick</c:v>
                  </c:pt>
                  <c:pt idx="4">
                    <c:v>Cremo</c:v>
                  </c:pt>
                  <c:pt idx="5">
                    <c:v>Equate</c:v>
                  </c:pt>
                </c:lvl>
              </c:multiLvlStrCache>
            </c:multiLvlStrRef>
          </c:cat>
          <c:val>
            <c:numRef>
              <c:f>Sheet1!$M$2:$M$8</c:f>
              <c:numCache>
                <c:formatCode>General</c:formatCode>
                <c:ptCount val="7"/>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3CT</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8</c:f>
              <c:multiLvlStrCache>
                <c:ptCount val="7"/>
                <c:lvl>
                  <c:pt idx="0">
                    <c:v>System</c:v>
                  </c:pt>
                  <c:pt idx="1">
                    <c:v>Disposables</c:v>
                  </c:pt>
                  <c:pt idx="2">
                    <c:v>Disposables</c:v>
                  </c:pt>
                  <c:pt idx="3">
                    <c:v>System</c:v>
                  </c:pt>
                  <c:pt idx="4">
                    <c:v>System</c:v>
                  </c:pt>
                  <c:pt idx="5">
                    <c:v>Disposables</c:v>
                  </c:pt>
                  <c:pt idx="6">
                    <c:v>System</c:v>
                  </c:pt>
                </c:lvl>
                <c:lvl>
                  <c:pt idx="0">
                    <c:v>Gillette</c:v>
                  </c:pt>
                  <c:pt idx="2">
                    <c:v>Schick</c:v>
                  </c:pt>
                  <c:pt idx="4">
                    <c:v>Cremo</c:v>
                  </c:pt>
                  <c:pt idx="5">
                    <c:v>Equate</c:v>
                  </c:pt>
                </c:lvl>
              </c:multiLvlStrCache>
            </c:multiLvlStrRef>
          </c:cat>
          <c:val>
            <c:numRef>
              <c:f>Sheet1!$N$2:$N$8</c:f>
              <c:numCache>
                <c:formatCode>General</c:formatCode>
                <c:ptCount val="7"/>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4CT</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8</c:f>
              <c:multiLvlStrCache>
                <c:ptCount val="7"/>
                <c:lvl>
                  <c:pt idx="0">
                    <c:v>System</c:v>
                  </c:pt>
                  <c:pt idx="1">
                    <c:v>Disposables</c:v>
                  </c:pt>
                  <c:pt idx="2">
                    <c:v>Disposables</c:v>
                  </c:pt>
                  <c:pt idx="3">
                    <c:v>System</c:v>
                  </c:pt>
                  <c:pt idx="4">
                    <c:v>System</c:v>
                  </c:pt>
                  <c:pt idx="5">
                    <c:v>Disposables</c:v>
                  </c:pt>
                  <c:pt idx="6">
                    <c:v>System</c:v>
                  </c:pt>
                </c:lvl>
                <c:lvl>
                  <c:pt idx="0">
                    <c:v>Gillette</c:v>
                  </c:pt>
                  <c:pt idx="2">
                    <c:v>Schick</c:v>
                  </c:pt>
                  <c:pt idx="4">
                    <c:v>Cremo</c:v>
                  </c:pt>
                  <c:pt idx="5">
                    <c:v>Equate</c:v>
                  </c:pt>
                </c:lvl>
              </c:multiLvlStrCache>
            </c:multiLvlStrRef>
          </c:cat>
          <c:val>
            <c:numRef>
              <c:f>Sheet1!$O$2:$O$8</c:f>
              <c:numCache>
                <c:formatCode>General</c:formatCode>
                <c:ptCount val="7"/>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52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Disposables</c:v>
                  </c:pt>
                  <c:pt idx="2">
                    <c:v>Disposables</c:v>
                  </c:pt>
                  <c:pt idx="3">
                    <c:v>System</c:v>
                  </c:pt>
                  <c:pt idx="4">
                    <c:v>System</c:v>
                  </c:pt>
                  <c:pt idx="5">
                    <c:v>Disposables</c:v>
                  </c:pt>
                  <c:pt idx="6">
                    <c:v>System</c:v>
                  </c:pt>
                </c:lvl>
                <c:lvl>
                  <c:pt idx="0">
                    <c:v>Gillette</c:v>
                  </c:pt>
                  <c:pt idx="2">
                    <c:v>Schick</c:v>
                  </c:pt>
                  <c:pt idx="4">
                    <c:v>Cremo</c:v>
                  </c:pt>
                  <c:pt idx="5">
                    <c:v>Equate</c:v>
                  </c:pt>
                </c:lvl>
              </c:multiLvlStrCache>
            </c:multiLvlStrRef>
          </c:cat>
          <c:val>
            <c:numRef>
              <c:f>Sheet1!$P$2:$P$8</c:f>
              <c:numCache>
                <c:formatCode>General</c:formatCode>
                <c:ptCount val="7"/>
                <c:pt idx="1">
                  <c:v>31.7252</c:v>
                </c:pt>
              </c:numCache>
            </c:numRef>
          </c:val>
          <c:smooth val="0"/>
          <c:extLst>
            <c:ext xmlns:c16="http://schemas.microsoft.com/office/drawing/2014/chart" uri="{C3380CC4-5D6E-409C-BE32-E72D297353CC}">
              <c16:uniqueId val="{0000002B-47B4-4CC0-A4CC-244654BFF3D5}"/>
            </c:ext>
          </c:extLst>
        </c:ser>
        <c:ser>
          <c:idx val="16"/>
          <c:order val="14"/>
          <c:tx>
            <c:strRef>
              <c:f>Sheet1!$Q$1</c:f>
              <c:strCache>
                <c:ptCount val="1"/>
                <c:pt idx="0">
                  <c:v>5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Disposables</c:v>
                  </c:pt>
                  <c:pt idx="2">
                    <c:v>Disposables</c:v>
                  </c:pt>
                  <c:pt idx="3">
                    <c:v>System</c:v>
                  </c:pt>
                  <c:pt idx="4">
                    <c:v>System</c:v>
                  </c:pt>
                  <c:pt idx="5">
                    <c:v>Disposables</c:v>
                  </c:pt>
                  <c:pt idx="6">
                    <c:v>System</c:v>
                  </c:pt>
                </c:lvl>
                <c:lvl>
                  <c:pt idx="0">
                    <c:v>Gillette</c:v>
                  </c:pt>
                  <c:pt idx="2">
                    <c:v>Schick</c:v>
                  </c:pt>
                  <c:pt idx="4">
                    <c:v>Cremo</c:v>
                  </c:pt>
                  <c:pt idx="5">
                    <c:v>Equate</c:v>
                  </c:pt>
                </c:lvl>
              </c:multiLvlStrCache>
            </c:multiLvlStrRef>
          </c:cat>
          <c:val>
            <c:numRef>
              <c:f>Sheet1!$Q$2:$Q$8</c:f>
              <c:numCache>
                <c:formatCode>General</c:formatCode>
                <c:ptCount val="7"/>
                <c:pt idx="4">
                  <c:v>9.6452</c:v>
                </c:pt>
              </c:numCache>
            </c:numRef>
          </c:val>
          <c:smooth val="0"/>
          <c:extLst>
            <c:ext xmlns:c16="http://schemas.microsoft.com/office/drawing/2014/chart" uri="{C3380CC4-5D6E-409C-BE32-E72D297353CC}">
              <c16:uniqueId val="{0000002B-47B4-4CC0-A4CC-244654BFF3D5}"/>
            </c:ext>
          </c:extLst>
        </c:ser>
        <c:ser>
          <c:idx val="17"/>
          <c:order val="15"/>
          <c:tx>
            <c:strRef>
              <c:f>Sheet1!$R$1</c:f>
              <c:strCache>
                <c:ptCount val="1"/>
                <c:pt idx="0">
                  <c:v>6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Disposables</c:v>
                  </c:pt>
                  <c:pt idx="2">
                    <c:v>Disposables</c:v>
                  </c:pt>
                  <c:pt idx="3">
                    <c:v>System</c:v>
                  </c:pt>
                  <c:pt idx="4">
                    <c:v>System</c:v>
                  </c:pt>
                  <c:pt idx="5">
                    <c:v>Disposables</c:v>
                  </c:pt>
                  <c:pt idx="6">
                    <c:v>System</c:v>
                  </c:pt>
                </c:lvl>
                <c:lvl>
                  <c:pt idx="0">
                    <c:v>Gillette</c:v>
                  </c:pt>
                  <c:pt idx="2">
                    <c:v>Schick</c:v>
                  </c:pt>
                  <c:pt idx="4">
                    <c:v>Cremo</c:v>
                  </c:pt>
                  <c:pt idx="5">
                    <c:v>Equate</c:v>
                  </c:pt>
                </c:lvl>
              </c:multiLvlStrCache>
            </c:multiLvlStrRef>
          </c:cat>
          <c:val>
            <c:numRef>
              <c:f>Sheet1!$R$2:$R$8</c:f>
              <c:numCache>
                <c:formatCode>General</c:formatCode>
                <c:ptCount val="7"/>
              </c:numCache>
            </c:numRef>
          </c:val>
          <c:smooth val="0"/>
          <c:extLst>
            <c:ext xmlns:c16="http://schemas.microsoft.com/office/drawing/2014/chart" uri="{C3380CC4-5D6E-409C-BE32-E72D297353CC}">
              <c16:uniqueId val="{0000002B-47B4-4CC0-A4CC-244654BFF3D5}"/>
            </c:ext>
          </c:extLst>
        </c:ser>
        <c:ser>
          <c:idx val="18"/>
          <c:order val="16"/>
          <c:tx>
            <c:strRef>
              <c:f>Sheet1!$S$1</c:f>
              <c:strCache>
                <c:ptCount val="1"/>
                <c:pt idx="0">
                  <c:v>7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Disposables</c:v>
                  </c:pt>
                  <c:pt idx="2">
                    <c:v>Disposables</c:v>
                  </c:pt>
                  <c:pt idx="3">
                    <c:v>System</c:v>
                  </c:pt>
                  <c:pt idx="4">
                    <c:v>System</c:v>
                  </c:pt>
                  <c:pt idx="5">
                    <c:v>Disposables</c:v>
                  </c:pt>
                  <c:pt idx="6">
                    <c:v>System</c:v>
                  </c:pt>
                </c:lvl>
                <c:lvl>
                  <c:pt idx="0">
                    <c:v>Gillette</c:v>
                  </c:pt>
                  <c:pt idx="2">
                    <c:v>Schick</c:v>
                  </c:pt>
                  <c:pt idx="4">
                    <c:v>Cremo</c:v>
                  </c:pt>
                  <c:pt idx="5">
                    <c:v>Equate</c:v>
                  </c:pt>
                </c:lvl>
              </c:multiLvlStrCache>
            </c:multiLvlStrRef>
          </c:cat>
          <c:val>
            <c:numRef>
              <c:f>Sheet1!$S$2:$S$8</c:f>
              <c:numCache>
                <c:formatCode>General</c:formatCode>
                <c:ptCount val="7"/>
              </c:numCache>
            </c:numRef>
          </c:val>
          <c:smooth val="0"/>
          <c:extLst>
            <c:ext xmlns:c16="http://schemas.microsoft.com/office/drawing/2014/chart" uri="{C3380CC4-5D6E-409C-BE32-E72D297353CC}">
              <c16:uniqueId val="{0000002B-47B4-4CC0-A4CC-244654BFF3D5}"/>
            </c:ext>
          </c:extLst>
        </c:ser>
        <c:ser>
          <c:idx val="19"/>
          <c:order val="17"/>
          <c:tx>
            <c:strRef>
              <c:f>Sheet1!$T$1</c:f>
              <c:strCache>
                <c:ptCount val="1"/>
                <c:pt idx="0">
                  <c:v>8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Disposables</c:v>
                  </c:pt>
                  <c:pt idx="2">
                    <c:v>Disposables</c:v>
                  </c:pt>
                  <c:pt idx="3">
                    <c:v>System</c:v>
                  </c:pt>
                  <c:pt idx="4">
                    <c:v>System</c:v>
                  </c:pt>
                  <c:pt idx="5">
                    <c:v>Disposables</c:v>
                  </c:pt>
                  <c:pt idx="6">
                    <c:v>System</c:v>
                  </c:pt>
                </c:lvl>
                <c:lvl>
                  <c:pt idx="0">
                    <c:v>Gillette</c:v>
                  </c:pt>
                  <c:pt idx="2">
                    <c:v>Schick</c:v>
                  </c:pt>
                  <c:pt idx="4">
                    <c:v>Cremo</c:v>
                  </c:pt>
                  <c:pt idx="5">
                    <c:v>Equate</c:v>
                  </c:pt>
                </c:lvl>
              </c:multiLvlStrCache>
            </c:multiLvlStrRef>
          </c:cat>
          <c:val>
            <c:numRef>
              <c:f>Sheet1!$T$2:$T$8</c:f>
              <c:numCache>
                <c:formatCode>General</c:formatCode>
                <c:ptCount val="7"/>
              </c:numCache>
            </c:numRef>
          </c:val>
          <c:smooth val="0"/>
          <c:extLst>
            <c:ext xmlns:c16="http://schemas.microsoft.com/office/drawing/2014/chart" uri="{C3380CC4-5D6E-409C-BE32-E72D297353CC}">
              <c16:uniqueId val="{0000002B-47B4-4CC0-A4CC-244654BFF3D5}"/>
            </c:ext>
          </c:extLst>
        </c:ser>
        <c:ser>
          <c:idx val="20"/>
          <c:order val="18"/>
          <c:tx>
            <c:strRef>
              <c:f>Sheet1!$U$1</c:f>
              <c:strCache>
                <c:ptCount val="1"/>
                <c:pt idx="0">
                  <c:v>9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Disposables</c:v>
                  </c:pt>
                  <c:pt idx="2">
                    <c:v>Disposables</c:v>
                  </c:pt>
                  <c:pt idx="3">
                    <c:v>System</c:v>
                  </c:pt>
                  <c:pt idx="4">
                    <c:v>System</c:v>
                  </c:pt>
                  <c:pt idx="5">
                    <c:v>Disposables</c:v>
                  </c:pt>
                  <c:pt idx="6">
                    <c:v>System</c:v>
                  </c:pt>
                </c:lvl>
                <c:lvl>
                  <c:pt idx="0">
                    <c:v>Gillette</c:v>
                  </c:pt>
                  <c:pt idx="2">
                    <c:v>Schick</c:v>
                  </c:pt>
                  <c:pt idx="4">
                    <c:v>Cremo</c:v>
                  </c:pt>
                  <c:pt idx="5">
                    <c:v>Equate</c:v>
                  </c:pt>
                </c:lvl>
              </c:multiLvlStrCache>
            </c:multiLvlStrRef>
          </c:cat>
          <c:val>
            <c:numRef>
              <c:f>Sheet1!$U$2:$U$8</c:f>
              <c:numCache>
                <c:formatCode>General</c:formatCode>
                <c:ptCount val="7"/>
                <c:pt idx="0">
                  <c:v>28.6354</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Equate</c:v>
                  </c:pt>
                  <c:pt idx="4">
                    <c:v>Schick</c:v>
                  </c:pt>
                  <c:pt idx="6">
                    <c:v>Cremo</c:v>
                  </c:pt>
                </c:lvl>
              </c:multiLvlStrCache>
            </c:multiLvlStrRef>
          </c:cat>
          <c:val>
            <c:numRef>
              <c:f>Sheet1!$C$2:$C$8</c:f>
              <c:numCache>
                <c:formatCode>General</c:formatCode>
                <c:ptCount val="7"/>
                <c:pt idx="1">
                  <c:v>10.2883</c:v>
                </c:pt>
                <c:pt idx="3">
                  <c:v>3.0</c:v>
                </c:pt>
                <c:pt idx="4">
                  <c:v>4.4375</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Equate</c:v>
                  </c:pt>
                  <c:pt idx="4">
                    <c:v>Schick</c:v>
                  </c:pt>
                  <c:pt idx="6">
                    <c:v>Cremo</c:v>
                  </c:pt>
                </c:lvl>
              </c:multiLvlStrCache>
            </c:multiLvlStrRef>
          </c:cat>
          <c:val>
            <c:numRef>
              <c:f>Sheet1!$D$2:$D$8</c:f>
              <c:numCache>
                <c:formatCode>General</c:formatCode>
                <c:ptCount val="7"/>
                <c:pt idx="2">
                  <c:v>2.1773</c:v>
                </c:pt>
                <c:pt idx="3">
                  <c:v>19.48</c:v>
                </c:pt>
                <c:pt idx="4">
                  <c:v>8.4824</c:v>
                </c:pt>
                <c:pt idx="5">
                  <c:v>26.19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5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Equate</c:v>
                  </c:pt>
                  <c:pt idx="4">
                    <c:v>Schick</c:v>
                  </c:pt>
                  <c:pt idx="6">
                    <c:v>Cremo</c:v>
                  </c:pt>
                </c:lvl>
              </c:multiLvlStrCache>
            </c:multiLvlStrRef>
          </c:cat>
          <c:val>
            <c:numRef>
              <c:f>Sheet1!$E$2:$E$8</c:f>
              <c:numCache>
                <c:formatCode>General</c:formatCode>
                <c:ptCount val="7"/>
                <c:pt idx="1">
                  <c:v>15.0128</c:v>
                </c:pt>
                <c:pt idx="3">
                  <c:v>18.5</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6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Equate</c:v>
                  </c:pt>
                  <c:pt idx="4">
                    <c:v>Schick</c:v>
                  </c:pt>
                  <c:pt idx="6">
                    <c:v>Cremo</c:v>
                  </c:pt>
                </c:lvl>
              </c:multiLvlStrCache>
            </c:multiLvlStrRef>
          </c:cat>
          <c:val>
            <c:numRef>
              <c:f>Sheet1!$F$2:$F$8</c:f>
              <c:numCache>
                <c:formatCode>General</c:formatCode>
                <c:ptCount val="7"/>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7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Equate</c:v>
                  </c:pt>
                  <c:pt idx="4">
                    <c:v>Schick</c:v>
                  </c:pt>
                  <c:pt idx="6">
                    <c:v>Cremo</c:v>
                  </c:pt>
                </c:lvl>
              </c:multiLvlStrCache>
            </c:multiLvlStrRef>
          </c:cat>
          <c:val>
            <c:numRef>
              <c:f>Sheet1!$G$2:$G$8</c:f>
              <c:numCache>
                <c:formatCode>General</c:formatCode>
                <c:ptCount val="7"/>
                <c:pt idx="5">
                  <c:v>15.0</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Equate</c:v>
                  </c:pt>
                  <c:pt idx="4">
                    <c:v>Schick</c:v>
                  </c:pt>
                  <c:pt idx="6">
                    <c:v>Cremo</c:v>
                  </c:pt>
                </c:lvl>
              </c:multiLvlStrCache>
            </c:multiLvlStrRef>
          </c:cat>
          <c:val>
            <c:numRef>
              <c:f>Sheet1!$H$2:$H$8</c:f>
              <c:numCache>
                <c:formatCode>General</c:formatCode>
                <c:ptCount val="7"/>
                <c:pt idx="1">
                  <c:v>14.9922</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Equate</c:v>
                  </c:pt>
                  <c:pt idx="4">
                    <c:v>Schick</c:v>
                  </c:pt>
                  <c:pt idx="6">
                    <c:v>Cremo</c:v>
                  </c:pt>
                </c:lvl>
              </c:multiLvlStrCache>
            </c:multiLvlStrRef>
          </c:cat>
          <c:val>
            <c:numRef>
              <c:f>Sheet1!$I$2:$I$8</c:f>
              <c:numCache>
                <c:formatCode>General</c:formatCode>
                <c:ptCount val="7"/>
                <c:pt idx="3">
                  <c:v>3.5</c:v>
                </c:pt>
                <c:pt idx="4">
                  <c:v>0.794</c:v>
                </c:pt>
                <c:pt idx="5">
                  <c:v>14.0</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CT</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Equate</c:v>
                  </c:pt>
                  <c:pt idx="4">
                    <c:v>Schick</c:v>
                  </c:pt>
                  <c:pt idx="6">
                    <c:v>Cremo</c:v>
                  </c:pt>
                </c:lvl>
              </c:multiLvlStrCache>
            </c:multiLvlStrRef>
          </c:cat>
          <c:val>
            <c:numRef>
              <c:f>Sheet1!$J$2:$J$8</c:f>
              <c:numCache>
                <c:formatCode>General</c:formatCode>
                <c:ptCount val="7"/>
                <c:pt idx="4">
                  <c:v>25.0</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1CT</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Equate</c:v>
                  </c:pt>
                  <c:pt idx="4">
                    <c:v>Schick</c:v>
                  </c:pt>
                  <c:pt idx="6">
                    <c:v>Cremo</c:v>
                  </c:pt>
                </c:lvl>
              </c:multiLvlStrCache>
            </c:multiLvlStrRef>
          </c:cat>
          <c:val>
            <c:numRef>
              <c:f>Sheet1!$K$2:$K$8</c:f>
              <c:numCache>
                <c:formatCode>General</c:formatCode>
                <c:ptCount val="7"/>
                <c:pt idx="1">
                  <c:v>20.064</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5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Equate</c:v>
                  </c:pt>
                  <c:pt idx="4">
                    <c:v>Schick</c:v>
                  </c:pt>
                  <c:pt idx="6">
                    <c:v>Cremo</c:v>
                  </c:pt>
                </c:lvl>
              </c:multiLvlStrCache>
            </c:multiLvlStrRef>
          </c:cat>
          <c:val>
            <c:numRef>
              <c:f>Sheet1!$L$2:$L$8</c:f>
              <c:numCache>
                <c:formatCode>General</c:formatCode>
                <c:ptCount val="7"/>
                <c:pt idx="1">
                  <c:v>19.9609</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CT</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Equate</c:v>
                  </c:pt>
                  <c:pt idx="4">
                    <c:v>Schick</c:v>
                  </c:pt>
                  <c:pt idx="6">
                    <c:v>Cremo</c:v>
                  </c:pt>
                </c:lvl>
              </c:multiLvlStrCache>
            </c:multiLvlStrRef>
          </c:cat>
          <c:val>
            <c:numRef>
              <c:f>Sheet1!$M$2:$M$8</c:f>
              <c:numCache>
                <c:formatCode>General</c:formatCode>
                <c:ptCount val="7"/>
                <c:pt idx="1">
                  <c:v>9.9791</c:v>
                </c:pt>
                <c:pt idx="2">
                  <c:v>1.937</c:v>
                </c:pt>
                <c:pt idx="3">
                  <c:v>8.4401</c:v>
                </c:pt>
                <c:pt idx="4">
                  <c:v>2.5</c:v>
                </c:pt>
                <c:pt idx="5">
                  <c:v>4.3177</c:v>
                </c:pt>
                <c:pt idx="6">
                  <c:v>14.8057</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3CT</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Equate</c:v>
                  </c:pt>
                  <c:pt idx="4">
                    <c:v>Schick</c:v>
                  </c:pt>
                  <c:pt idx="6">
                    <c:v>Cremo</c:v>
                  </c:pt>
                </c:lvl>
              </c:multiLvlStrCache>
            </c:multiLvlStrRef>
          </c:cat>
          <c:val>
            <c:numRef>
              <c:f>Sheet1!$N$2:$N$8</c:f>
              <c:numCache>
                <c:formatCode>General</c:formatCode>
                <c:ptCount val="7"/>
                <c:pt idx="1">
                  <c:v>6.9635</c:v>
                </c:pt>
                <c:pt idx="2">
                  <c:v>5.0484</c:v>
                </c:pt>
                <c:pt idx="4">
                  <c:v>3.8235</c:v>
                </c:pt>
                <c:pt idx="5">
                  <c:v>9.5902</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4CT</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Equate</c:v>
                  </c:pt>
                  <c:pt idx="4">
                    <c:v>Schick</c:v>
                  </c:pt>
                  <c:pt idx="6">
                    <c:v>Cremo</c:v>
                  </c:pt>
                </c:lvl>
              </c:multiLvlStrCache>
            </c:multiLvlStrRef>
          </c:cat>
          <c:val>
            <c:numRef>
              <c:f>Sheet1!$O$2:$O$8</c:f>
              <c:numCache>
                <c:formatCode>General</c:formatCode>
                <c:ptCount val="7"/>
                <c:pt idx="2">
                  <c:v>3.972</c:v>
                </c:pt>
                <c:pt idx="3">
                  <c:v>8.9444</c:v>
                </c:pt>
                <c:pt idx="4">
                  <c:v>6.4918</c:v>
                </c:pt>
                <c:pt idx="5">
                  <c:v>9.1995</c:v>
                </c:pt>
                <c:pt idx="6">
                  <c:v>13.5345</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5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Equate</c:v>
                  </c:pt>
                  <c:pt idx="4">
                    <c:v>Schick</c:v>
                  </c:pt>
                  <c:pt idx="6">
                    <c:v>Cremo</c:v>
                  </c:pt>
                </c:lvl>
              </c:multiLvlStrCache>
            </c:multiLvlStrRef>
          </c:cat>
          <c:val>
            <c:numRef>
              <c:f>Sheet1!$P$2:$P$8</c:f>
              <c:numCache>
                <c:formatCode>General</c:formatCode>
                <c:ptCount val="7"/>
                <c:pt idx="0">
                  <c:v>23.4403</c:v>
                </c:pt>
                <c:pt idx="2">
                  <c:v>1.0034</c:v>
                </c:pt>
                <c:pt idx="3">
                  <c:v>5.4</c:v>
                </c:pt>
                <c:pt idx="5">
                  <c:v>8.3451</c:v>
                </c:pt>
              </c:numCache>
            </c:numRef>
          </c:val>
          <c:smooth val="0"/>
          <c:extLst>
            <c:ext xmlns:c16="http://schemas.microsoft.com/office/drawing/2014/chart" uri="{C3380CC4-5D6E-409C-BE32-E72D297353CC}">
              <c16:uniqueId val="{0000002B-47B4-4CC0-A4CC-244654BFF3D5}"/>
            </c:ext>
          </c:extLst>
        </c:ser>
        <c:ser>
          <c:idx val="16"/>
          <c:order val="14"/>
          <c:tx>
            <c:strRef>
              <c:f>Sheet1!$Q$1</c:f>
              <c:strCache>
                <c:ptCount val="1"/>
                <c:pt idx="0">
                  <c:v>6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Equate</c:v>
                  </c:pt>
                  <c:pt idx="4">
                    <c:v>Schick</c:v>
                  </c:pt>
                  <c:pt idx="6">
                    <c:v>Cremo</c:v>
                  </c:pt>
                </c:lvl>
              </c:multiLvlStrCache>
            </c:multiLvlStrRef>
          </c:cat>
          <c:val>
            <c:numRef>
              <c:f>Sheet1!$Q$2:$Q$8</c:f>
              <c:numCache>
                <c:formatCode>General</c:formatCode>
                <c:ptCount val="7"/>
                <c:pt idx="0">
                  <c:v>22.3567</c:v>
                </c:pt>
                <c:pt idx="4">
                  <c:v>5.6071</c:v>
                </c:pt>
                <c:pt idx="5">
                  <c:v>14.5899</c:v>
                </c:pt>
              </c:numCache>
            </c:numRef>
          </c:val>
          <c:smooth val="0"/>
          <c:extLst>
            <c:ext xmlns:c16="http://schemas.microsoft.com/office/drawing/2014/chart" uri="{C3380CC4-5D6E-409C-BE32-E72D297353CC}">
              <c16:uniqueId val="{0000002B-47B4-4CC0-A4CC-244654BFF3D5}"/>
            </c:ext>
          </c:extLst>
        </c:ser>
        <c:ser>
          <c:idx val="17"/>
          <c:order val="15"/>
          <c:tx>
            <c:strRef>
              <c:f>Sheet1!$R$1</c:f>
              <c:strCache>
                <c:ptCount val="1"/>
                <c:pt idx="0">
                  <c:v>7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Equate</c:v>
                  </c:pt>
                  <c:pt idx="4">
                    <c:v>Schick</c:v>
                  </c:pt>
                  <c:pt idx="6">
                    <c:v>Cremo</c:v>
                  </c:pt>
                </c:lvl>
              </c:multiLvlStrCache>
            </c:multiLvlStrRef>
          </c:cat>
          <c:val>
            <c:numRef>
              <c:f>Sheet1!$R$2:$R$8</c:f>
              <c:numCache>
                <c:formatCode>General</c:formatCode>
                <c:ptCount val="7"/>
                <c:pt idx="0">
                  <c:v>28.5356</c:v>
                </c:pt>
                <c:pt idx="5">
                  <c:v>4.0</c:v>
                </c:pt>
              </c:numCache>
            </c:numRef>
          </c:val>
          <c:smooth val="0"/>
          <c:extLst>
            <c:ext xmlns:c16="http://schemas.microsoft.com/office/drawing/2014/chart" uri="{C3380CC4-5D6E-409C-BE32-E72D297353CC}">
              <c16:uniqueId val="{0000002B-47B4-4CC0-A4CC-244654BFF3D5}"/>
            </c:ext>
          </c:extLst>
        </c:ser>
        <c:ser>
          <c:idx val="18"/>
          <c:order val="16"/>
          <c:tx>
            <c:strRef>
              <c:f>Sheet1!$S$1</c:f>
              <c:strCache>
                <c:ptCount val="1"/>
                <c:pt idx="0">
                  <c:v>8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Equate</c:v>
                  </c:pt>
                  <c:pt idx="4">
                    <c:v>Schick</c:v>
                  </c:pt>
                  <c:pt idx="6">
                    <c:v>Cremo</c:v>
                  </c:pt>
                </c:lvl>
              </c:multiLvlStrCache>
            </c:multiLvlStrRef>
          </c:cat>
          <c:val>
            <c:numRef>
              <c:f>Sheet1!$S$2:$S$8</c:f>
              <c:numCache>
                <c:formatCode>General</c:formatCode>
                <c:ptCount val="7"/>
                <c:pt idx="2">
                  <c:v>5.9797</c:v>
                </c:pt>
                <c:pt idx="3">
                  <c:v>15.2946</c:v>
                </c:pt>
                <c:pt idx="4">
                  <c:v>10.5602</c:v>
                </c:pt>
                <c:pt idx="5">
                  <c:v>5.3163</c:v>
                </c:pt>
              </c:numCache>
            </c:numRef>
          </c:val>
          <c:smooth val="0"/>
          <c:extLst>
            <c:ext xmlns:c16="http://schemas.microsoft.com/office/drawing/2014/chart" uri="{C3380CC4-5D6E-409C-BE32-E72D297353CC}">
              <c16:uniqueId val="{0000002B-47B4-4CC0-A4CC-244654BFF3D5}"/>
            </c:ext>
          </c:extLst>
        </c:ser>
        <c:ser>
          <c:idx val="19"/>
          <c:order val="17"/>
          <c:tx>
            <c:strRef>
              <c:f>Sheet1!$T$1</c:f>
              <c:strCache>
                <c:ptCount val="1"/>
                <c:pt idx="0">
                  <c:v>9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Equate</c:v>
                  </c:pt>
                  <c:pt idx="4">
                    <c:v>Schick</c:v>
                  </c:pt>
                  <c:pt idx="6">
                    <c:v>Cremo</c:v>
                  </c:pt>
                </c:lvl>
              </c:multiLvlStrCache>
            </c:multiLvlStrRef>
          </c:cat>
          <c:val>
            <c:numRef>
              <c:f>Sheet1!$T$2:$T$8</c:f>
              <c:numCache>
                <c:formatCode>General</c:formatCode>
                <c:ptCount val="7"/>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Refills</c:v>
                  </c:pt>
                  <c:pt idx="1">
                    <c:v>Razors</c:v>
                  </c:pt>
                  <c:pt idx="2">
                    <c:v>Refills</c:v>
                  </c:pt>
                  <c:pt idx="3">
                    <c:v>Razors</c:v>
                  </c:pt>
                  <c:pt idx="4">
                    <c:v>Refills</c:v>
                  </c:pt>
                  <c:pt idx="5">
                    <c:v>Razors</c:v>
                  </c:pt>
                  <c:pt idx="6">
                    <c:v>Refills</c:v>
                  </c:pt>
                  <c:pt idx="7">
                    <c:v>Razors</c:v>
                  </c:pt>
                </c:lvl>
                <c:lvl>
                  <c:pt idx="0">
                    <c:v>Gillette</c:v>
                  </c:pt>
                  <c:pt idx="2">
                    <c:v>Schick</c:v>
                  </c:pt>
                  <c:pt idx="4">
                    <c:v>Equate</c:v>
                  </c:pt>
                  <c:pt idx="6">
                    <c:v>Cremo</c:v>
                  </c:pt>
                </c:lvl>
              </c:multiLvlStrCache>
            </c:multiLvlStrRef>
          </c:cat>
          <c:val>
            <c:numRef>
              <c:f>Sheet1!$C$2:$C$9</c:f>
              <c:numCache>
                <c:formatCode>General</c:formatCode>
                <c:ptCount val="8"/>
                <c:pt idx="0">
                  <c:v>26.9189</c:v>
                </c:pt>
                <c:pt idx="4">
                  <c:v>3.0</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9</c:f>
              <c:multiLvlStrCache>
                <c:ptCount val="8"/>
                <c:lvl>
                  <c:pt idx="0">
                    <c:v>Refills</c:v>
                  </c:pt>
                  <c:pt idx="1">
                    <c:v>Razors</c:v>
                  </c:pt>
                  <c:pt idx="2">
                    <c:v>Refills</c:v>
                  </c:pt>
                  <c:pt idx="3">
                    <c:v>Razors</c:v>
                  </c:pt>
                  <c:pt idx="4">
                    <c:v>Refills</c:v>
                  </c:pt>
                  <c:pt idx="5">
                    <c:v>Razors</c:v>
                  </c:pt>
                  <c:pt idx="6">
                    <c:v>Refills</c:v>
                  </c:pt>
                  <c:pt idx="7">
                    <c:v>Razors</c:v>
                  </c:pt>
                </c:lvl>
                <c:lvl>
                  <c:pt idx="0">
                    <c:v>Gillette</c:v>
                  </c:pt>
                  <c:pt idx="2">
                    <c:v>Schick</c:v>
                  </c:pt>
                  <c:pt idx="4">
                    <c:v>Equate</c:v>
                  </c:pt>
                  <c:pt idx="6">
                    <c:v>Cremo</c:v>
                  </c:pt>
                </c:lvl>
              </c:multiLvlStrCache>
            </c:multiLvlStrRef>
          </c:cat>
          <c:val>
            <c:numRef>
              <c:f>Sheet1!$D$2:$D$9</c:f>
              <c:numCache>
                <c:formatCode>General</c:formatCode>
                <c:ptCount val="8"/>
                <c:pt idx="2">
                  <c:v>25.8588</c:v>
                </c:pt>
                <c:pt idx="3">
                  <c:v>39.0</c:v>
                </c:pt>
                <c:pt idx="4">
                  <c:v>19.478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3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Refills</c:v>
                  </c:pt>
                  <c:pt idx="1">
                    <c:v>Razors</c:v>
                  </c:pt>
                  <c:pt idx="2">
                    <c:v>Refills</c:v>
                  </c:pt>
                  <c:pt idx="3">
                    <c:v>Razors</c:v>
                  </c:pt>
                  <c:pt idx="4">
                    <c:v>Refills</c:v>
                  </c:pt>
                  <c:pt idx="5">
                    <c:v>Razors</c:v>
                  </c:pt>
                  <c:pt idx="6">
                    <c:v>Refills</c:v>
                  </c:pt>
                  <c:pt idx="7">
                    <c:v>Razors</c:v>
                  </c:pt>
                </c:lvl>
                <c:lvl>
                  <c:pt idx="0">
                    <c:v>Gillette</c:v>
                  </c:pt>
                  <c:pt idx="2">
                    <c:v>Schick</c:v>
                  </c:pt>
                  <c:pt idx="4">
                    <c:v>Equate</c:v>
                  </c:pt>
                  <c:pt idx="6">
                    <c:v>Cremo</c:v>
                  </c:pt>
                </c:lvl>
              </c:multiLvlStrCache>
            </c:multiLvlStrRef>
          </c:cat>
          <c:val>
            <c:numRef>
              <c:f>Sheet1!$E$2:$E$9</c:f>
              <c:numCache>
                <c:formatCode>General</c:formatCode>
                <c:ptCount val="8"/>
                <c:pt idx="1">
                  <c:v>44.3502</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5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Refills</c:v>
                  </c:pt>
                  <c:pt idx="1">
                    <c:v>Razors</c:v>
                  </c:pt>
                  <c:pt idx="2">
                    <c:v>Refills</c:v>
                  </c:pt>
                  <c:pt idx="3">
                    <c:v>Razors</c:v>
                  </c:pt>
                  <c:pt idx="4">
                    <c:v>Refills</c:v>
                  </c:pt>
                  <c:pt idx="5">
                    <c:v>Razors</c:v>
                  </c:pt>
                  <c:pt idx="6">
                    <c:v>Refills</c:v>
                  </c:pt>
                  <c:pt idx="7">
                    <c:v>Razors</c:v>
                  </c:pt>
                </c:lvl>
                <c:lvl>
                  <c:pt idx="0">
                    <c:v>Gillette</c:v>
                  </c:pt>
                  <c:pt idx="2">
                    <c:v>Schick</c:v>
                  </c:pt>
                  <c:pt idx="4">
                    <c:v>Equate</c:v>
                  </c:pt>
                  <c:pt idx="6">
                    <c:v>Cremo</c:v>
                  </c:pt>
                </c:lvl>
              </c:multiLvlStrCache>
            </c:multiLvlStrRef>
          </c:cat>
          <c:val>
            <c:numRef>
              <c:f>Sheet1!$F$2:$F$9</c:f>
              <c:numCache>
                <c:formatCode>General</c:formatCode>
                <c:ptCount val="8"/>
                <c:pt idx="0">
                  <c:v>35.7868</c:v>
                </c:pt>
                <c:pt idx="4">
                  <c:v>18.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6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9</c:f>
              <c:multiLvlStrCache>
                <c:ptCount val="8"/>
                <c:lvl>
                  <c:pt idx="0">
                    <c:v>Refills</c:v>
                  </c:pt>
                  <c:pt idx="1">
                    <c:v>Razors</c:v>
                  </c:pt>
                  <c:pt idx="2">
                    <c:v>Refills</c:v>
                  </c:pt>
                  <c:pt idx="3">
                    <c:v>Razors</c:v>
                  </c:pt>
                  <c:pt idx="4">
                    <c:v>Refills</c:v>
                  </c:pt>
                  <c:pt idx="5">
                    <c:v>Razors</c:v>
                  </c:pt>
                  <c:pt idx="6">
                    <c:v>Refills</c:v>
                  </c:pt>
                  <c:pt idx="7">
                    <c:v>Razors</c:v>
                  </c:pt>
                </c:lvl>
                <c:lvl>
                  <c:pt idx="0">
                    <c:v>Gillette</c:v>
                  </c:pt>
                  <c:pt idx="2">
                    <c:v>Schick</c:v>
                  </c:pt>
                  <c:pt idx="4">
                    <c:v>Equate</c:v>
                  </c:pt>
                  <c:pt idx="6">
                    <c:v>Cremo</c:v>
                  </c:pt>
                </c:lvl>
              </c:multiLvlStrCache>
            </c:multiLvlStrRef>
          </c:cat>
          <c:val>
            <c:numRef>
              <c:f>Sheet1!$G$2:$G$9</c:f>
              <c:numCache>
                <c:formatCode>General</c:formatCode>
                <c:ptCount val="8"/>
                <c:pt idx="3">
                  <c:v>27.5854</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7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Refills</c:v>
                  </c:pt>
                  <c:pt idx="1">
                    <c:v>Razors</c:v>
                  </c:pt>
                  <c:pt idx="2">
                    <c:v>Refills</c:v>
                  </c:pt>
                  <c:pt idx="3">
                    <c:v>Razors</c:v>
                  </c:pt>
                  <c:pt idx="4">
                    <c:v>Refills</c:v>
                  </c:pt>
                  <c:pt idx="5">
                    <c:v>Razors</c:v>
                  </c:pt>
                  <c:pt idx="6">
                    <c:v>Refills</c:v>
                  </c:pt>
                  <c:pt idx="7">
                    <c:v>Razors</c:v>
                  </c:pt>
                </c:lvl>
                <c:lvl>
                  <c:pt idx="0">
                    <c:v>Gillette</c:v>
                  </c:pt>
                  <c:pt idx="2">
                    <c:v>Schick</c:v>
                  </c:pt>
                  <c:pt idx="4">
                    <c:v>Equate</c:v>
                  </c:pt>
                  <c:pt idx="6">
                    <c:v>Cremo</c:v>
                  </c:pt>
                </c:lvl>
              </c:multiLvlStrCache>
            </c:multiLvlStrRef>
          </c:cat>
          <c:val>
            <c:numRef>
              <c:f>Sheet1!$H$2:$H$9</c:f>
              <c:numCache>
                <c:formatCode>General</c:formatCode>
                <c:ptCount val="8"/>
                <c:pt idx="3">
                  <c:v>36.9472</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Refills</c:v>
                  </c:pt>
                  <c:pt idx="1">
                    <c:v>Razors</c:v>
                  </c:pt>
                  <c:pt idx="2">
                    <c:v>Refills</c:v>
                  </c:pt>
                  <c:pt idx="3">
                    <c:v>Razors</c:v>
                  </c:pt>
                  <c:pt idx="4">
                    <c:v>Refills</c:v>
                  </c:pt>
                  <c:pt idx="5">
                    <c:v>Razors</c:v>
                  </c:pt>
                  <c:pt idx="6">
                    <c:v>Refills</c:v>
                  </c:pt>
                  <c:pt idx="7">
                    <c:v>Razors</c:v>
                  </c:pt>
                </c:lvl>
                <c:lvl>
                  <c:pt idx="0">
                    <c:v>Gillette</c:v>
                  </c:pt>
                  <c:pt idx="2">
                    <c:v>Schick</c:v>
                  </c:pt>
                  <c:pt idx="4">
                    <c:v>Equate</c:v>
                  </c:pt>
                  <c:pt idx="6">
                    <c:v>Cremo</c:v>
                  </c:pt>
                </c:lvl>
              </c:multiLvlStrCache>
            </c:multiLvlStrRef>
          </c:cat>
          <c:val>
            <c:numRef>
              <c:f>Sheet1!$I$2:$I$9</c:f>
              <c:numCache>
                <c:formatCode>General</c:formatCode>
                <c:ptCount val="8"/>
                <c:pt idx="3">
                  <c:v>5.4337</c:v>
                </c:pt>
                <c:pt idx="5">
                  <c:v>4.0</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CT</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Refills</c:v>
                  </c:pt>
                  <c:pt idx="1">
                    <c:v>Razors</c:v>
                  </c:pt>
                  <c:pt idx="2">
                    <c:v>Refills</c:v>
                  </c:pt>
                  <c:pt idx="3">
                    <c:v>Razors</c:v>
                  </c:pt>
                  <c:pt idx="4">
                    <c:v>Refills</c:v>
                  </c:pt>
                  <c:pt idx="5">
                    <c:v>Razors</c:v>
                  </c:pt>
                  <c:pt idx="6">
                    <c:v>Refills</c:v>
                  </c:pt>
                  <c:pt idx="7">
                    <c:v>Razors</c:v>
                  </c:pt>
                </c:lvl>
                <c:lvl>
                  <c:pt idx="0">
                    <c:v>Gillette</c:v>
                  </c:pt>
                  <c:pt idx="2">
                    <c:v>Schick</c:v>
                  </c:pt>
                  <c:pt idx="4">
                    <c:v>Equate</c:v>
                  </c:pt>
                  <c:pt idx="6">
                    <c:v>Cremo</c:v>
                  </c:pt>
                </c:lvl>
              </c:multiLvlStrCache>
            </c:multiLvlStrRef>
          </c:cat>
          <c:val>
            <c:numRef>
              <c:f>Sheet1!$J$2:$J$9</c:f>
              <c:numCache>
                <c:formatCode>General</c:formatCode>
                <c:ptCount val="8"/>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CT</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Refills</c:v>
                  </c:pt>
                  <c:pt idx="1">
                    <c:v>Razors</c:v>
                  </c:pt>
                  <c:pt idx="2">
                    <c:v>Refills</c:v>
                  </c:pt>
                  <c:pt idx="3">
                    <c:v>Razors</c:v>
                  </c:pt>
                  <c:pt idx="4">
                    <c:v>Refills</c:v>
                  </c:pt>
                  <c:pt idx="5">
                    <c:v>Razors</c:v>
                  </c:pt>
                  <c:pt idx="6">
                    <c:v>Refills</c:v>
                  </c:pt>
                  <c:pt idx="7">
                    <c:v>Razors</c:v>
                  </c:pt>
                </c:lvl>
                <c:lvl>
                  <c:pt idx="0">
                    <c:v>Gillette</c:v>
                  </c:pt>
                  <c:pt idx="2">
                    <c:v>Schick</c:v>
                  </c:pt>
                  <c:pt idx="4">
                    <c:v>Equate</c:v>
                  </c:pt>
                  <c:pt idx="6">
                    <c:v>Cremo</c:v>
                  </c:pt>
                </c:lvl>
              </c:multiLvlStrCache>
            </c:multiLvlStrRef>
          </c:cat>
          <c:val>
            <c:numRef>
              <c:f>Sheet1!$K$2:$K$9</c:f>
              <c:numCache>
                <c:formatCode>General</c:formatCode>
                <c:ptCount val="8"/>
                <c:pt idx="2">
                  <c:v>4.8825</c:v>
                </c:pt>
                <c:pt idx="3">
                  <c:v>9.1042</c:v>
                </c:pt>
                <c:pt idx="5">
                  <c:v>8.4393</c:v>
                </c:pt>
                <c:pt idx="7">
                  <c:v>14.3525</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3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9</c:f>
              <c:multiLvlStrCache>
                <c:ptCount val="8"/>
                <c:lvl>
                  <c:pt idx="0">
                    <c:v>Refills</c:v>
                  </c:pt>
                  <c:pt idx="1">
                    <c:v>Razors</c:v>
                  </c:pt>
                  <c:pt idx="2">
                    <c:v>Refills</c:v>
                  </c:pt>
                  <c:pt idx="3">
                    <c:v>Razors</c:v>
                  </c:pt>
                  <c:pt idx="4">
                    <c:v>Refills</c:v>
                  </c:pt>
                  <c:pt idx="5">
                    <c:v>Razors</c:v>
                  </c:pt>
                  <c:pt idx="6">
                    <c:v>Refills</c:v>
                  </c:pt>
                  <c:pt idx="7">
                    <c:v>Razors</c:v>
                  </c:pt>
                </c:lvl>
                <c:lvl>
                  <c:pt idx="0">
                    <c:v>Gillette</c:v>
                  </c:pt>
                  <c:pt idx="2">
                    <c:v>Schick</c:v>
                  </c:pt>
                  <c:pt idx="4">
                    <c:v>Equate</c:v>
                  </c:pt>
                  <c:pt idx="6">
                    <c:v>Cremo</c:v>
                  </c:pt>
                </c:lvl>
              </c:multiLvlStrCache>
            </c:multiLvlStrRef>
          </c:cat>
          <c:val>
            <c:numRef>
              <c:f>Sheet1!$L$2:$L$9</c:f>
              <c:numCache>
                <c:formatCode>General</c:formatCode>
                <c:ptCount val="8"/>
                <c:pt idx="3">
                  <c:v>10.1758</c:v>
                </c:pt>
                <c:pt idx="7">
                  <c:v>9.6875</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4CT</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Refills</c:v>
                  </c:pt>
                  <c:pt idx="1">
                    <c:v>Razors</c:v>
                  </c:pt>
                  <c:pt idx="2">
                    <c:v>Refills</c:v>
                  </c:pt>
                  <c:pt idx="3">
                    <c:v>Razors</c:v>
                  </c:pt>
                  <c:pt idx="4">
                    <c:v>Refills</c:v>
                  </c:pt>
                  <c:pt idx="5">
                    <c:v>Razors</c:v>
                  </c:pt>
                  <c:pt idx="6">
                    <c:v>Refills</c:v>
                  </c:pt>
                  <c:pt idx="7">
                    <c:v>Razors</c:v>
                  </c:pt>
                </c:lvl>
                <c:lvl>
                  <c:pt idx="0">
                    <c:v>Gillette</c:v>
                  </c:pt>
                  <c:pt idx="2">
                    <c:v>Schick</c:v>
                  </c:pt>
                  <c:pt idx="4">
                    <c:v>Equate</c:v>
                  </c:pt>
                  <c:pt idx="6">
                    <c:v>Cremo</c:v>
                  </c:pt>
                </c:lvl>
              </c:multiLvlStrCache>
            </c:multiLvlStrRef>
          </c:cat>
          <c:val>
            <c:numRef>
              <c:f>Sheet1!$M$2:$M$9</c:f>
              <c:numCache>
                <c:formatCode>General</c:formatCode>
                <c:ptCount val="8"/>
                <c:pt idx="2">
                  <c:v>11.7565</c:v>
                </c:pt>
                <c:pt idx="3">
                  <c:v>11.3406</c:v>
                </c:pt>
                <c:pt idx="4">
                  <c:v>8.9443</c:v>
                </c:pt>
                <c:pt idx="6">
                  <c:v>12.7214</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5CT</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Refills</c:v>
                  </c:pt>
                  <c:pt idx="1">
                    <c:v>Razors</c:v>
                  </c:pt>
                  <c:pt idx="2">
                    <c:v>Refills</c:v>
                  </c:pt>
                  <c:pt idx="3">
                    <c:v>Razors</c:v>
                  </c:pt>
                  <c:pt idx="4">
                    <c:v>Refills</c:v>
                  </c:pt>
                  <c:pt idx="5">
                    <c:v>Razors</c:v>
                  </c:pt>
                  <c:pt idx="6">
                    <c:v>Refills</c:v>
                  </c:pt>
                  <c:pt idx="7">
                    <c:v>Razors</c:v>
                  </c:pt>
                </c:lvl>
                <c:lvl>
                  <c:pt idx="0">
                    <c:v>Gillette</c:v>
                  </c:pt>
                  <c:pt idx="2">
                    <c:v>Schick</c:v>
                  </c:pt>
                  <c:pt idx="4">
                    <c:v>Equate</c:v>
                  </c:pt>
                  <c:pt idx="6">
                    <c:v>Cremo</c:v>
                  </c:pt>
                </c:lvl>
              </c:multiLvlStrCache>
            </c:multiLvlStrRef>
          </c:cat>
          <c:val>
            <c:numRef>
              <c:f>Sheet1!$N$2:$N$9</c:f>
              <c:numCache>
                <c:formatCode>General</c:formatCode>
                <c:ptCount val="8"/>
                <c:pt idx="2">
                  <c:v>11.7188</c:v>
                </c:pt>
                <c:pt idx="3">
                  <c:v>17.9653</c:v>
                </c:pt>
                <c:pt idx="4">
                  <c:v>5.4</c:v>
                </c:pt>
                <c:pt idx="7">
                  <c:v>9.5861</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6CT</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9</c:f>
              <c:multiLvlStrCache>
                <c:ptCount val="8"/>
                <c:lvl>
                  <c:pt idx="0">
                    <c:v>Refills</c:v>
                  </c:pt>
                  <c:pt idx="1">
                    <c:v>Razors</c:v>
                  </c:pt>
                  <c:pt idx="2">
                    <c:v>Refills</c:v>
                  </c:pt>
                  <c:pt idx="3">
                    <c:v>Razors</c:v>
                  </c:pt>
                  <c:pt idx="4">
                    <c:v>Refills</c:v>
                  </c:pt>
                  <c:pt idx="5">
                    <c:v>Razors</c:v>
                  </c:pt>
                  <c:pt idx="6">
                    <c:v>Refills</c:v>
                  </c:pt>
                  <c:pt idx="7">
                    <c:v>Razors</c:v>
                  </c:pt>
                </c:lvl>
                <c:lvl>
                  <c:pt idx="0">
                    <c:v>Gillette</c:v>
                  </c:pt>
                  <c:pt idx="2">
                    <c:v>Schick</c:v>
                  </c:pt>
                  <c:pt idx="4">
                    <c:v>Equate</c:v>
                  </c:pt>
                  <c:pt idx="6">
                    <c:v>Cremo</c:v>
                  </c:pt>
                </c:lvl>
              </c:multiLvlStrCache>
            </c:multiLvlStrRef>
          </c:cat>
          <c:val>
            <c:numRef>
              <c:f>Sheet1!$O$2:$O$9</c:f>
              <c:numCache>
                <c:formatCode>General</c:formatCode>
                <c:ptCount val="8"/>
                <c:pt idx="2">
                  <c:v>15.194</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7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Refills</c:v>
                  </c:pt>
                  <c:pt idx="1">
                    <c:v>Razors</c:v>
                  </c:pt>
                  <c:pt idx="2">
                    <c:v>Refills</c:v>
                  </c:pt>
                  <c:pt idx="3">
                    <c:v>Razors</c:v>
                  </c:pt>
                  <c:pt idx="4">
                    <c:v>Refills</c:v>
                  </c:pt>
                  <c:pt idx="5">
                    <c:v>Razors</c:v>
                  </c:pt>
                  <c:pt idx="6">
                    <c:v>Refills</c:v>
                  </c:pt>
                  <c:pt idx="7">
                    <c:v>Razors</c:v>
                  </c:pt>
                </c:lvl>
                <c:lvl>
                  <c:pt idx="0">
                    <c:v>Gillette</c:v>
                  </c:pt>
                  <c:pt idx="2">
                    <c:v>Schick</c:v>
                  </c:pt>
                  <c:pt idx="4">
                    <c:v>Equate</c:v>
                  </c:pt>
                  <c:pt idx="6">
                    <c:v>Cremo</c:v>
                  </c:pt>
                </c:lvl>
              </c:multiLvlStrCache>
            </c:multiLvlStrRef>
          </c:cat>
          <c:val>
            <c:numRef>
              <c:f>Sheet1!$P$2:$P$9</c:f>
              <c:numCache>
                <c:formatCode>General</c:formatCode>
                <c:ptCount val="8"/>
                <c:pt idx="2">
                  <c:v>5.4197</c:v>
                </c:pt>
              </c:numCache>
            </c:numRef>
          </c:val>
          <c:smooth val="0"/>
          <c:extLst>
            <c:ext xmlns:c16="http://schemas.microsoft.com/office/drawing/2014/chart" uri="{C3380CC4-5D6E-409C-BE32-E72D297353CC}">
              <c16:uniqueId val="{0000002B-47B4-4CC0-A4CC-244654BFF3D5}"/>
            </c:ext>
          </c:extLst>
        </c:ser>
        <c:ser>
          <c:idx val="16"/>
          <c:order val="14"/>
          <c:tx>
            <c:strRef>
              <c:f>Sheet1!$Q$1</c:f>
              <c:strCache>
                <c:ptCount val="1"/>
                <c:pt idx="0">
                  <c:v>8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Refills</c:v>
                  </c:pt>
                  <c:pt idx="1">
                    <c:v>Razors</c:v>
                  </c:pt>
                  <c:pt idx="2">
                    <c:v>Refills</c:v>
                  </c:pt>
                  <c:pt idx="3">
                    <c:v>Razors</c:v>
                  </c:pt>
                  <c:pt idx="4">
                    <c:v>Refills</c:v>
                  </c:pt>
                  <c:pt idx="5">
                    <c:v>Razors</c:v>
                  </c:pt>
                  <c:pt idx="6">
                    <c:v>Refills</c:v>
                  </c:pt>
                  <c:pt idx="7">
                    <c:v>Razors</c:v>
                  </c:pt>
                </c:lvl>
                <c:lvl>
                  <c:pt idx="0">
                    <c:v>Gillette</c:v>
                  </c:pt>
                  <c:pt idx="2">
                    <c:v>Schick</c:v>
                  </c:pt>
                  <c:pt idx="4">
                    <c:v>Equate</c:v>
                  </c:pt>
                  <c:pt idx="6">
                    <c:v>Cremo</c:v>
                  </c:pt>
                </c:lvl>
              </c:multiLvlStrCache>
            </c:multiLvlStrRef>
          </c:cat>
          <c:val>
            <c:numRef>
              <c:f>Sheet1!$Q$2:$Q$9</c:f>
              <c:numCache>
                <c:formatCode>General</c:formatCode>
                <c:ptCount val="8"/>
                <c:pt idx="2">
                  <c:v>13.0096</c:v>
                </c:pt>
                <c:pt idx="4">
                  <c:v>15.2905</c:v>
                </c:pt>
              </c:numCache>
            </c:numRef>
          </c:val>
          <c:smooth val="0"/>
          <c:extLst>
            <c:ext xmlns:c16="http://schemas.microsoft.com/office/drawing/2014/chart" uri="{C3380CC4-5D6E-409C-BE32-E72D297353CC}">
              <c16:uniqueId val="{0000002B-47B4-4CC0-A4CC-244654BFF3D5}"/>
            </c:ext>
          </c:extLst>
        </c:ser>
        <c:ser>
          <c:idx val="17"/>
          <c:order val="15"/>
          <c:tx>
            <c:strRef>
              <c:f>Sheet1!$R$1</c:f>
              <c:strCache>
                <c:ptCount val="1"/>
                <c:pt idx="0">
                  <c:v>9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Refills</c:v>
                  </c:pt>
                  <c:pt idx="1">
                    <c:v>Razors</c:v>
                  </c:pt>
                  <c:pt idx="2">
                    <c:v>Refills</c:v>
                  </c:pt>
                  <c:pt idx="3">
                    <c:v>Razors</c:v>
                  </c:pt>
                  <c:pt idx="4">
                    <c:v>Refills</c:v>
                  </c:pt>
                  <c:pt idx="5">
                    <c:v>Razors</c:v>
                  </c:pt>
                  <c:pt idx="6">
                    <c:v>Refills</c:v>
                  </c:pt>
                  <c:pt idx="7">
                    <c:v>Razors</c:v>
                  </c:pt>
                </c:lvl>
                <c:lvl>
                  <c:pt idx="0">
                    <c:v>Gillette</c:v>
                  </c:pt>
                  <c:pt idx="2">
                    <c:v>Schick</c:v>
                  </c:pt>
                  <c:pt idx="4">
                    <c:v>Equate</c:v>
                  </c:pt>
                  <c:pt idx="6">
                    <c:v>Cremo</c:v>
                  </c:pt>
                </c:lvl>
              </c:multiLvlStrCache>
            </c:multiLvlStrRef>
          </c:cat>
          <c:val>
            <c:numRef>
              <c:f>Sheet1!$R$2:$R$9</c:f>
              <c:numCache>
                <c:formatCode>General</c:formatCode>
                <c:ptCount val="8"/>
                <c:pt idx="1">
                  <c:v>28.914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Refills</c:v>
                  </c:pt>
                  <c:pt idx="1">
                    <c:v>Razors</c:v>
                  </c:pt>
                  <c:pt idx="2">
                    <c:v>Refills</c:v>
                  </c:pt>
                  <c:pt idx="3">
                    <c:v>Razors</c:v>
                  </c:pt>
                  <c:pt idx="4">
                    <c:v>Razors</c:v>
                  </c:pt>
                  <c:pt idx="5">
                    <c:v>Refills</c:v>
                  </c:pt>
                  <c:pt idx="6">
                    <c:v>Refills</c:v>
                  </c:pt>
                  <c:pt idx="7">
                    <c:v>Razors</c:v>
                  </c:pt>
                </c:lvl>
                <c:lvl>
                  <c:pt idx="0">
                    <c:v>Gillette</c:v>
                  </c:pt>
                  <c:pt idx="2">
                    <c:v>Schick</c:v>
                  </c:pt>
                  <c:pt idx="4">
                    <c:v>Cremo</c:v>
                  </c:pt>
                  <c:pt idx="6">
                    <c:v>Equate</c:v>
                  </c:pt>
                </c:lvl>
              </c:multiLvlStrCache>
            </c:multiLvlStrRef>
          </c:cat>
          <c:val>
            <c:numRef>
              <c:f>Sheet1!$C$2:$C$9</c:f>
              <c:numCache>
                <c:formatCode>General</c:formatCode>
                <c:ptCount val="8"/>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9</c:f>
              <c:multiLvlStrCache>
                <c:ptCount val="8"/>
                <c:lvl>
                  <c:pt idx="0">
                    <c:v>Refills</c:v>
                  </c:pt>
                  <c:pt idx="1">
                    <c:v>Razors</c:v>
                  </c:pt>
                  <c:pt idx="2">
                    <c:v>Refills</c:v>
                  </c:pt>
                  <c:pt idx="3">
                    <c:v>Razors</c:v>
                  </c:pt>
                  <c:pt idx="4">
                    <c:v>Razors</c:v>
                  </c:pt>
                  <c:pt idx="5">
                    <c:v>Refills</c:v>
                  </c:pt>
                  <c:pt idx="6">
                    <c:v>Refills</c:v>
                  </c:pt>
                  <c:pt idx="7">
                    <c:v>Razors</c:v>
                  </c:pt>
                </c:lvl>
                <c:lvl>
                  <c:pt idx="0">
                    <c:v>Gillette</c:v>
                  </c:pt>
                  <c:pt idx="2">
                    <c:v>Schick</c:v>
                  </c:pt>
                  <c:pt idx="4">
                    <c:v>Cremo</c:v>
                  </c:pt>
                  <c:pt idx="6">
                    <c:v>Equate</c:v>
                  </c:pt>
                </c:lvl>
              </c:multiLvlStrCache>
            </c:multiLvlStrRef>
          </c:cat>
          <c:val>
            <c:numRef>
              <c:f>Sheet1!$D$2:$D$9</c:f>
              <c:numCache>
                <c:formatCode>General</c:formatCode>
                <c:ptCount val="8"/>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Refills</c:v>
                  </c:pt>
                  <c:pt idx="1">
                    <c:v>Razors</c:v>
                  </c:pt>
                  <c:pt idx="2">
                    <c:v>Refills</c:v>
                  </c:pt>
                  <c:pt idx="3">
                    <c:v>Razors</c:v>
                  </c:pt>
                  <c:pt idx="4">
                    <c:v>Razors</c:v>
                  </c:pt>
                  <c:pt idx="5">
                    <c:v>Refills</c:v>
                  </c:pt>
                  <c:pt idx="6">
                    <c:v>Refills</c:v>
                  </c:pt>
                  <c:pt idx="7">
                    <c:v>Razors</c:v>
                  </c:pt>
                </c:lvl>
                <c:lvl>
                  <c:pt idx="0">
                    <c:v>Gillette</c:v>
                  </c:pt>
                  <c:pt idx="2">
                    <c:v>Schick</c:v>
                  </c:pt>
                  <c:pt idx="4">
                    <c:v>Cremo</c:v>
                  </c:pt>
                  <c:pt idx="6">
                    <c:v>Equate</c:v>
                  </c:pt>
                </c:lvl>
              </c:multiLvlStrCache>
            </c:multiLvlStrRef>
          </c:cat>
          <c:val>
            <c:numRef>
              <c:f>Sheet1!$E$2:$E$9</c:f>
              <c:numCache>
                <c:formatCode>General</c:formatCode>
                <c:ptCount val="8"/>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3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Refills</c:v>
                  </c:pt>
                  <c:pt idx="1">
                    <c:v>Razors</c:v>
                  </c:pt>
                  <c:pt idx="2">
                    <c:v>Refills</c:v>
                  </c:pt>
                  <c:pt idx="3">
                    <c:v>Razors</c:v>
                  </c:pt>
                  <c:pt idx="4">
                    <c:v>Razors</c:v>
                  </c:pt>
                  <c:pt idx="5">
                    <c:v>Refills</c:v>
                  </c:pt>
                  <c:pt idx="6">
                    <c:v>Refills</c:v>
                  </c:pt>
                  <c:pt idx="7">
                    <c:v>Razors</c:v>
                  </c:pt>
                </c:lvl>
                <c:lvl>
                  <c:pt idx="0">
                    <c:v>Gillette</c:v>
                  </c:pt>
                  <c:pt idx="2">
                    <c:v>Schick</c:v>
                  </c:pt>
                  <c:pt idx="4">
                    <c:v>Cremo</c:v>
                  </c:pt>
                  <c:pt idx="6">
                    <c:v>Equate</c:v>
                  </c:pt>
                </c:lvl>
              </c:multiLvlStrCache>
            </c:multiLvlStrRef>
          </c:cat>
          <c:val>
            <c:numRef>
              <c:f>Sheet1!$F$2:$F$9</c:f>
              <c:numCache>
                <c:formatCode>General</c:formatCode>
                <c:ptCount val="8"/>
                <c:pt idx="1">
                  <c:v>44.32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5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9</c:f>
              <c:multiLvlStrCache>
                <c:ptCount val="8"/>
                <c:lvl>
                  <c:pt idx="0">
                    <c:v>Refills</c:v>
                  </c:pt>
                  <c:pt idx="1">
                    <c:v>Razors</c:v>
                  </c:pt>
                  <c:pt idx="2">
                    <c:v>Refills</c:v>
                  </c:pt>
                  <c:pt idx="3">
                    <c:v>Razors</c:v>
                  </c:pt>
                  <c:pt idx="4">
                    <c:v>Razors</c:v>
                  </c:pt>
                  <c:pt idx="5">
                    <c:v>Refills</c:v>
                  </c:pt>
                  <c:pt idx="6">
                    <c:v>Refills</c:v>
                  </c:pt>
                  <c:pt idx="7">
                    <c:v>Razors</c:v>
                  </c:pt>
                </c:lvl>
                <c:lvl>
                  <c:pt idx="0">
                    <c:v>Gillette</c:v>
                  </c:pt>
                  <c:pt idx="2">
                    <c:v>Schick</c:v>
                  </c:pt>
                  <c:pt idx="4">
                    <c:v>Cremo</c:v>
                  </c:pt>
                  <c:pt idx="6">
                    <c:v>Equate</c:v>
                  </c:pt>
                </c:lvl>
              </c:multiLvlStrCache>
            </c:multiLvlStrRef>
          </c:cat>
          <c:val>
            <c:numRef>
              <c:f>Sheet1!$G$2:$G$9</c:f>
              <c:numCache>
                <c:formatCode>General</c:formatCode>
                <c:ptCount val="8"/>
                <c:pt idx="0">
                  <c:v>39.5038</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Refills</c:v>
                  </c:pt>
                  <c:pt idx="1">
                    <c:v>Razors</c:v>
                  </c:pt>
                  <c:pt idx="2">
                    <c:v>Refills</c:v>
                  </c:pt>
                  <c:pt idx="3">
                    <c:v>Razors</c:v>
                  </c:pt>
                  <c:pt idx="4">
                    <c:v>Razors</c:v>
                  </c:pt>
                  <c:pt idx="5">
                    <c:v>Refills</c:v>
                  </c:pt>
                  <c:pt idx="6">
                    <c:v>Refills</c:v>
                  </c:pt>
                  <c:pt idx="7">
                    <c:v>Razors</c:v>
                  </c:pt>
                </c:lvl>
                <c:lvl>
                  <c:pt idx="0">
                    <c:v>Gillette</c:v>
                  </c:pt>
                  <c:pt idx="2">
                    <c:v>Schick</c:v>
                  </c:pt>
                  <c:pt idx="4">
                    <c:v>Cremo</c:v>
                  </c:pt>
                  <c:pt idx="6">
                    <c:v>Equate</c:v>
                  </c:pt>
                </c:lvl>
              </c:multiLvlStrCache>
            </c:multiLvlStrRef>
          </c:cat>
          <c:val>
            <c:numRef>
              <c:f>Sheet1!$H$2:$H$9</c:f>
              <c:numCache>
                <c:formatCode>General</c:formatCode>
                <c:ptCount val="8"/>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7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Refills</c:v>
                  </c:pt>
                  <c:pt idx="1">
                    <c:v>Razors</c:v>
                  </c:pt>
                  <c:pt idx="2">
                    <c:v>Refills</c:v>
                  </c:pt>
                  <c:pt idx="3">
                    <c:v>Razors</c:v>
                  </c:pt>
                  <c:pt idx="4">
                    <c:v>Razors</c:v>
                  </c:pt>
                  <c:pt idx="5">
                    <c:v>Refills</c:v>
                  </c:pt>
                  <c:pt idx="6">
                    <c:v>Refills</c:v>
                  </c:pt>
                  <c:pt idx="7">
                    <c:v>Razors</c:v>
                  </c:pt>
                </c:lvl>
                <c:lvl>
                  <c:pt idx="0">
                    <c:v>Gillette</c:v>
                  </c:pt>
                  <c:pt idx="2">
                    <c:v>Schick</c:v>
                  </c:pt>
                  <c:pt idx="4">
                    <c:v>Cremo</c:v>
                  </c:pt>
                  <c:pt idx="6">
                    <c:v>Equate</c:v>
                  </c:pt>
                </c:lvl>
              </c:multiLvlStrCache>
            </c:multiLvlStrRef>
          </c:cat>
          <c:val>
            <c:numRef>
              <c:f>Sheet1!$I$2:$I$9</c:f>
              <c:numCache>
                <c:formatCode>General</c:formatCode>
                <c:ptCount val="8"/>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1CT</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Refills</c:v>
                  </c:pt>
                  <c:pt idx="1">
                    <c:v>Razors</c:v>
                  </c:pt>
                  <c:pt idx="2">
                    <c:v>Refills</c:v>
                  </c:pt>
                  <c:pt idx="3">
                    <c:v>Razors</c:v>
                  </c:pt>
                  <c:pt idx="4">
                    <c:v>Razors</c:v>
                  </c:pt>
                  <c:pt idx="5">
                    <c:v>Refills</c:v>
                  </c:pt>
                  <c:pt idx="6">
                    <c:v>Refills</c:v>
                  </c:pt>
                  <c:pt idx="7">
                    <c:v>Razors</c:v>
                  </c:pt>
                </c:lvl>
                <c:lvl>
                  <c:pt idx="0">
                    <c:v>Gillette</c:v>
                  </c:pt>
                  <c:pt idx="2">
                    <c:v>Schick</c:v>
                  </c:pt>
                  <c:pt idx="4">
                    <c:v>Cremo</c:v>
                  </c:pt>
                  <c:pt idx="6">
                    <c:v>Equate</c:v>
                  </c:pt>
                </c:lvl>
              </c:multiLvlStrCache>
            </c:multiLvlStrRef>
          </c:cat>
          <c:val>
            <c:numRef>
              <c:f>Sheet1!$J$2:$J$9</c:f>
              <c:numCache>
                <c:formatCode>General</c:formatCode>
                <c:ptCount val="8"/>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0CT</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Refills</c:v>
                  </c:pt>
                  <c:pt idx="1">
                    <c:v>Razors</c:v>
                  </c:pt>
                  <c:pt idx="2">
                    <c:v>Refills</c:v>
                  </c:pt>
                  <c:pt idx="3">
                    <c:v>Razors</c:v>
                  </c:pt>
                  <c:pt idx="4">
                    <c:v>Razors</c:v>
                  </c:pt>
                  <c:pt idx="5">
                    <c:v>Refills</c:v>
                  </c:pt>
                  <c:pt idx="6">
                    <c:v>Refills</c:v>
                  </c:pt>
                  <c:pt idx="7">
                    <c:v>Razors</c:v>
                  </c:pt>
                </c:lvl>
                <c:lvl>
                  <c:pt idx="0">
                    <c:v>Gillette</c:v>
                  </c:pt>
                  <c:pt idx="2">
                    <c:v>Schick</c:v>
                  </c:pt>
                  <c:pt idx="4">
                    <c:v>Cremo</c:v>
                  </c:pt>
                  <c:pt idx="6">
                    <c:v>Equate</c:v>
                  </c:pt>
                </c:lvl>
              </c:multiLvlStrCache>
            </c:multiLvlStrRef>
          </c:cat>
          <c:val>
            <c:numRef>
              <c:f>Sheet1!$K$2:$K$9</c:f>
              <c:numCache>
                <c:formatCode>General</c:formatCode>
                <c:ptCount val="8"/>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9</c:f>
              <c:multiLvlStrCache>
                <c:ptCount val="8"/>
                <c:lvl>
                  <c:pt idx="0">
                    <c:v>Refills</c:v>
                  </c:pt>
                  <c:pt idx="1">
                    <c:v>Razors</c:v>
                  </c:pt>
                  <c:pt idx="2">
                    <c:v>Refills</c:v>
                  </c:pt>
                  <c:pt idx="3">
                    <c:v>Razors</c:v>
                  </c:pt>
                  <c:pt idx="4">
                    <c:v>Razors</c:v>
                  </c:pt>
                  <c:pt idx="5">
                    <c:v>Refills</c:v>
                  </c:pt>
                  <c:pt idx="6">
                    <c:v>Refills</c:v>
                  </c:pt>
                  <c:pt idx="7">
                    <c:v>Razors</c:v>
                  </c:pt>
                </c:lvl>
                <c:lvl>
                  <c:pt idx="0">
                    <c:v>Gillette</c:v>
                  </c:pt>
                  <c:pt idx="2">
                    <c:v>Schick</c:v>
                  </c:pt>
                  <c:pt idx="4">
                    <c:v>Cremo</c:v>
                  </c:pt>
                  <c:pt idx="6">
                    <c:v>Equate</c:v>
                  </c:pt>
                </c:lvl>
              </c:multiLvlStrCache>
            </c:multiLvlStrRef>
          </c:cat>
          <c:val>
            <c:numRef>
              <c:f>Sheet1!$L$2:$L$9</c:f>
              <c:numCache>
                <c:formatCode>General</c:formatCode>
                <c:ptCount val="8"/>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3CT</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Refills</c:v>
                  </c:pt>
                  <c:pt idx="1">
                    <c:v>Razors</c:v>
                  </c:pt>
                  <c:pt idx="2">
                    <c:v>Refills</c:v>
                  </c:pt>
                  <c:pt idx="3">
                    <c:v>Razors</c:v>
                  </c:pt>
                  <c:pt idx="4">
                    <c:v>Razors</c:v>
                  </c:pt>
                  <c:pt idx="5">
                    <c:v>Refills</c:v>
                  </c:pt>
                  <c:pt idx="6">
                    <c:v>Refills</c:v>
                  </c:pt>
                  <c:pt idx="7">
                    <c:v>Razors</c:v>
                  </c:pt>
                </c:lvl>
                <c:lvl>
                  <c:pt idx="0">
                    <c:v>Gillette</c:v>
                  </c:pt>
                  <c:pt idx="2">
                    <c:v>Schick</c:v>
                  </c:pt>
                  <c:pt idx="4">
                    <c:v>Cremo</c:v>
                  </c:pt>
                  <c:pt idx="6">
                    <c:v>Equate</c:v>
                  </c:pt>
                </c:lvl>
              </c:multiLvlStrCache>
            </c:multiLvlStrRef>
          </c:cat>
          <c:val>
            <c:numRef>
              <c:f>Sheet1!$M$2:$M$9</c:f>
              <c:numCache>
                <c:formatCode>General</c:formatCode>
                <c:ptCount val="8"/>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4CT</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Refills</c:v>
                  </c:pt>
                  <c:pt idx="1">
                    <c:v>Razors</c:v>
                  </c:pt>
                  <c:pt idx="2">
                    <c:v>Refills</c:v>
                  </c:pt>
                  <c:pt idx="3">
                    <c:v>Razors</c:v>
                  </c:pt>
                  <c:pt idx="4">
                    <c:v>Razors</c:v>
                  </c:pt>
                  <c:pt idx="5">
                    <c:v>Refills</c:v>
                  </c:pt>
                  <c:pt idx="6">
                    <c:v>Refills</c:v>
                  </c:pt>
                  <c:pt idx="7">
                    <c:v>Razors</c:v>
                  </c:pt>
                </c:lvl>
                <c:lvl>
                  <c:pt idx="0">
                    <c:v>Gillette</c:v>
                  </c:pt>
                  <c:pt idx="2">
                    <c:v>Schick</c:v>
                  </c:pt>
                  <c:pt idx="4">
                    <c:v>Cremo</c:v>
                  </c:pt>
                  <c:pt idx="6">
                    <c:v>Equate</c:v>
                  </c:pt>
                </c:lvl>
              </c:multiLvlStrCache>
            </c:multiLvlStrRef>
          </c:cat>
          <c:val>
            <c:numRef>
              <c:f>Sheet1!$N$2:$N$9</c:f>
              <c:numCache>
                <c:formatCode>General</c:formatCode>
                <c:ptCount val="8"/>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5CT</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9</c:f>
              <c:multiLvlStrCache>
                <c:ptCount val="8"/>
                <c:lvl>
                  <c:pt idx="0">
                    <c:v>Refills</c:v>
                  </c:pt>
                  <c:pt idx="1">
                    <c:v>Razors</c:v>
                  </c:pt>
                  <c:pt idx="2">
                    <c:v>Refills</c:v>
                  </c:pt>
                  <c:pt idx="3">
                    <c:v>Razors</c:v>
                  </c:pt>
                  <c:pt idx="4">
                    <c:v>Razors</c:v>
                  </c:pt>
                  <c:pt idx="5">
                    <c:v>Refills</c:v>
                  </c:pt>
                  <c:pt idx="6">
                    <c:v>Refills</c:v>
                  </c:pt>
                  <c:pt idx="7">
                    <c:v>Razors</c:v>
                  </c:pt>
                </c:lvl>
                <c:lvl>
                  <c:pt idx="0">
                    <c:v>Gillette</c:v>
                  </c:pt>
                  <c:pt idx="2">
                    <c:v>Schick</c:v>
                  </c:pt>
                  <c:pt idx="4">
                    <c:v>Cremo</c:v>
                  </c:pt>
                  <c:pt idx="6">
                    <c:v>Equate</c:v>
                  </c:pt>
                </c:lvl>
              </c:multiLvlStrCache>
            </c:multiLvlStrRef>
          </c:cat>
          <c:val>
            <c:numRef>
              <c:f>Sheet1!$O$2:$O$9</c:f>
              <c:numCache>
                <c:formatCode>General</c:formatCode>
                <c:ptCount val="8"/>
                <c:pt idx="4">
                  <c:v>9.6452</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6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Refills</c:v>
                  </c:pt>
                  <c:pt idx="1">
                    <c:v>Razors</c:v>
                  </c:pt>
                  <c:pt idx="2">
                    <c:v>Refills</c:v>
                  </c:pt>
                  <c:pt idx="3">
                    <c:v>Razors</c:v>
                  </c:pt>
                  <c:pt idx="4">
                    <c:v>Razors</c:v>
                  </c:pt>
                  <c:pt idx="5">
                    <c:v>Refills</c:v>
                  </c:pt>
                  <c:pt idx="6">
                    <c:v>Refills</c:v>
                  </c:pt>
                  <c:pt idx="7">
                    <c:v>Razors</c:v>
                  </c:pt>
                </c:lvl>
                <c:lvl>
                  <c:pt idx="0">
                    <c:v>Gillette</c:v>
                  </c:pt>
                  <c:pt idx="2">
                    <c:v>Schick</c:v>
                  </c:pt>
                  <c:pt idx="4">
                    <c:v>Cremo</c:v>
                  </c:pt>
                  <c:pt idx="6">
                    <c:v>Equate</c:v>
                  </c:pt>
                </c:lvl>
              </c:multiLvlStrCache>
            </c:multiLvlStrRef>
          </c:cat>
          <c:val>
            <c:numRef>
              <c:f>Sheet1!$P$2:$P$9</c:f>
              <c:numCache>
                <c:formatCode>General</c:formatCode>
                <c:ptCount val="8"/>
              </c:numCache>
            </c:numRef>
          </c:val>
          <c:smooth val="0"/>
          <c:extLst>
            <c:ext xmlns:c16="http://schemas.microsoft.com/office/drawing/2014/chart" uri="{C3380CC4-5D6E-409C-BE32-E72D297353CC}">
              <c16:uniqueId val="{0000002B-47B4-4CC0-A4CC-244654BFF3D5}"/>
            </c:ext>
          </c:extLst>
        </c:ser>
        <c:ser>
          <c:idx val="16"/>
          <c:order val="14"/>
          <c:tx>
            <c:strRef>
              <c:f>Sheet1!$Q$1</c:f>
              <c:strCache>
                <c:ptCount val="1"/>
                <c:pt idx="0">
                  <c:v>7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Refills</c:v>
                  </c:pt>
                  <c:pt idx="1">
                    <c:v>Razors</c:v>
                  </c:pt>
                  <c:pt idx="2">
                    <c:v>Refills</c:v>
                  </c:pt>
                  <c:pt idx="3">
                    <c:v>Razors</c:v>
                  </c:pt>
                  <c:pt idx="4">
                    <c:v>Razors</c:v>
                  </c:pt>
                  <c:pt idx="5">
                    <c:v>Refills</c:v>
                  </c:pt>
                  <c:pt idx="6">
                    <c:v>Refills</c:v>
                  </c:pt>
                  <c:pt idx="7">
                    <c:v>Razors</c:v>
                  </c:pt>
                </c:lvl>
                <c:lvl>
                  <c:pt idx="0">
                    <c:v>Gillette</c:v>
                  </c:pt>
                  <c:pt idx="2">
                    <c:v>Schick</c:v>
                  </c:pt>
                  <c:pt idx="4">
                    <c:v>Cremo</c:v>
                  </c:pt>
                  <c:pt idx="6">
                    <c:v>Equate</c:v>
                  </c:pt>
                </c:lvl>
              </c:multiLvlStrCache>
            </c:multiLvlStrRef>
          </c:cat>
          <c:val>
            <c:numRef>
              <c:f>Sheet1!$Q$2:$Q$9</c:f>
              <c:numCache>
                <c:formatCode>General</c:formatCode>
                <c:ptCount val="8"/>
              </c:numCache>
            </c:numRef>
          </c:val>
          <c:smooth val="0"/>
          <c:extLst>
            <c:ext xmlns:c16="http://schemas.microsoft.com/office/drawing/2014/chart" uri="{C3380CC4-5D6E-409C-BE32-E72D297353CC}">
              <c16:uniqueId val="{0000002B-47B4-4CC0-A4CC-244654BFF3D5}"/>
            </c:ext>
          </c:extLst>
        </c:ser>
        <c:ser>
          <c:idx val="17"/>
          <c:order val="15"/>
          <c:tx>
            <c:strRef>
              <c:f>Sheet1!$R$1</c:f>
              <c:strCache>
                <c:ptCount val="1"/>
                <c:pt idx="0">
                  <c:v>8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Refills</c:v>
                  </c:pt>
                  <c:pt idx="1">
                    <c:v>Razors</c:v>
                  </c:pt>
                  <c:pt idx="2">
                    <c:v>Refills</c:v>
                  </c:pt>
                  <c:pt idx="3">
                    <c:v>Razors</c:v>
                  </c:pt>
                  <c:pt idx="4">
                    <c:v>Razors</c:v>
                  </c:pt>
                  <c:pt idx="5">
                    <c:v>Refills</c:v>
                  </c:pt>
                  <c:pt idx="6">
                    <c:v>Refills</c:v>
                  </c:pt>
                  <c:pt idx="7">
                    <c:v>Razors</c:v>
                  </c:pt>
                </c:lvl>
                <c:lvl>
                  <c:pt idx="0">
                    <c:v>Gillette</c:v>
                  </c:pt>
                  <c:pt idx="2">
                    <c:v>Schick</c:v>
                  </c:pt>
                  <c:pt idx="4">
                    <c:v>Cremo</c:v>
                  </c:pt>
                  <c:pt idx="6">
                    <c:v>Equate</c:v>
                  </c:pt>
                </c:lvl>
              </c:multiLvlStrCache>
            </c:multiLvlStrRef>
          </c:cat>
          <c:val>
            <c:numRef>
              <c:f>Sheet1!$R$2:$R$9</c:f>
              <c:numCache>
                <c:formatCode>General</c:formatCode>
                <c:ptCount val="8"/>
              </c:numCache>
            </c:numRef>
          </c:val>
          <c:smooth val="0"/>
          <c:extLst>
            <c:ext xmlns:c16="http://schemas.microsoft.com/office/drawing/2014/chart" uri="{C3380CC4-5D6E-409C-BE32-E72D297353CC}">
              <c16:uniqueId val="{0000002B-47B4-4CC0-A4CC-244654BFF3D5}"/>
            </c:ext>
          </c:extLst>
        </c:ser>
        <c:ser>
          <c:idx val="18"/>
          <c:order val="16"/>
          <c:tx>
            <c:strRef>
              <c:f>Sheet1!$S$1</c:f>
              <c:strCache>
                <c:ptCount val="1"/>
                <c:pt idx="0">
                  <c:v>9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Refills</c:v>
                  </c:pt>
                  <c:pt idx="1">
                    <c:v>Razors</c:v>
                  </c:pt>
                  <c:pt idx="2">
                    <c:v>Refills</c:v>
                  </c:pt>
                  <c:pt idx="3">
                    <c:v>Razors</c:v>
                  </c:pt>
                  <c:pt idx="4">
                    <c:v>Razors</c:v>
                  </c:pt>
                  <c:pt idx="5">
                    <c:v>Refills</c:v>
                  </c:pt>
                  <c:pt idx="6">
                    <c:v>Refills</c:v>
                  </c:pt>
                  <c:pt idx="7">
                    <c:v>Razors</c:v>
                  </c:pt>
                </c:lvl>
                <c:lvl>
                  <c:pt idx="0">
                    <c:v>Gillette</c:v>
                  </c:pt>
                  <c:pt idx="2">
                    <c:v>Schick</c:v>
                  </c:pt>
                  <c:pt idx="4">
                    <c:v>Cremo</c:v>
                  </c:pt>
                  <c:pt idx="6">
                    <c:v>Equate</c:v>
                  </c:pt>
                </c:lvl>
              </c:multiLvlStrCache>
            </c:multiLvlStrRef>
          </c:cat>
          <c:val>
            <c:numRef>
              <c:f>Sheet1!$S$2:$S$9</c:f>
              <c:numCache>
                <c:formatCode>General</c:formatCode>
                <c:ptCount val="8"/>
                <c:pt idx="1">
                  <c:v>28.6354</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Refills</c:v>
                  </c:pt>
                  <c:pt idx="1">
                    <c:v>Razors</c:v>
                  </c:pt>
                  <c:pt idx="2">
                    <c:v>Refills</c:v>
                  </c:pt>
                  <c:pt idx="3">
                    <c:v>Razors</c:v>
                  </c:pt>
                  <c:pt idx="4">
                    <c:v>Refills</c:v>
                  </c:pt>
                  <c:pt idx="5">
                    <c:v>Razors</c:v>
                  </c:pt>
                  <c:pt idx="6">
                    <c:v>Razors</c:v>
                  </c:pt>
                  <c:pt idx="7">
                    <c:v>Refills</c:v>
                  </c:pt>
                </c:lvl>
                <c:lvl>
                  <c:pt idx="0">
                    <c:v>Gillette</c:v>
                  </c:pt>
                  <c:pt idx="2">
                    <c:v>Equate</c:v>
                  </c:pt>
                  <c:pt idx="4">
                    <c:v>Schick</c:v>
                  </c:pt>
                  <c:pt idx="6">
                    <c:v>Cremo</c:v>
                  </c:pt>
                </c:lvl>
              </c:multiLvlStrCache>
            </c:multiLvlStrRef>
          </c:cat>
          <c:val>
            <c:numRef>
              <c:f>Sheet1!$C$2:$C$9</c:f>
              <c:numCache>
                <c:formatCode>General</c:formatCode>
                <c:ptCount val="8"/>
                <c:pt idx="2">
                  <c:v>3.0</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9</c:f>
              <c:multiLvlStrCache>
                <c:ptCount val="8"/>
                <c:lvl>
                  <c:pt idx="0">
                    <c:v>Refills</c:v>
                  </c:pt>
                  <c:pt idx="1">
                    <c:v>Razors</c:v>
                  </c:pt>
                  <c:pt idx="2">
                    <c:v>Refills</c:v>
                  </c:pt>
                  <c:pt idx="3">
                    <c:v>Razors</c:v>
                  </c:pt>
                  <c:pt idx="4">
                    <c:v>Refills</c:v>
                  </c:pt>
                  <c:pt idx="5">
                    <c:v>Razors</c:v>
                  </c:pt>
                  <c:pt idx="6">
                    <c:v>Razors</c:v>
                  </c:pt>
                  <c:pt idx="7">
                    <c:v>Refills</c:v>
                  </c:pt>
                </c:lvl>
                <c:lvl>
                  <c:pt idx="0">
                    <c:v>Gillette</c:v>
                  </c:pt>
                  <c:pt idx="2">
                    <c:v>Equate</c:v>
                  </c:pt>
                  <c:pt idx="4">
                    <c:v>Schick</c:v>
                  </c:pt>
                  <c:pt idx="6">
                    <c:v>Cremo</c:v>
                  </c:pt>
                </c:lvl>
              </c:multiLvlStrCache>
            </c:multiLvlStrRef>
          </c:cat>
          <c:val>
            <c:numRef>
              <c:f>Sheet1!$D$2:$D$9</c:f>
              <c:numCache>
                <c:formatCode>General</c:formatCode>
                <c:ptCount val="8"/>
                <c:pt idx="2">
                  <c:v>19.48</c:v>
                </c:pt>
                <c:pt idx="4">
                  <c:v>26.19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5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Refills</c:v>
                  </c:pt>
                  <c:pt idx="1">
                    <c:v>Razors</c:v>
                  </c:pt>
                  <c:pt idx="2">
                    <c:v>Refills</c:v>
                  </c:pt>
                  <c:pt idx="3">
                    <c:v>Razors</c:v>
                  </c:pt>
                  <c:pt idx="4">
                    <c:v>Refills</c:v>
                  </c:pt>
                  <c:pt idx="5">
                    <c:v>Razors</c:v>
                  </c:pt>
                  <c:pt idx="6">
                    <c:v>Razors</c:v>
                  </c:pt>
                  <c:pt idx="7">
                    <c:v>Refills</c:v>
                  </c:pt>
                </c:lvl>
                <c:lvl>
                  <c:pt idx="0">
                    <c:v>Gillette</c:v>
                  </c:pt>
                  <c:pt idx="2">
                    <c:v>Equate</c:v>
                  </c:pt>
                  <c:pt idx="4">
                    <c:v>Schick</c:v>
                  </c:pt>
                  <c:pt idx="6">
                    <c:v>Cremo</c:v>
                  </c:pt>
                </c:lvl>
              </c:multiLvlStrCache>
            </c:multiLvlStrRef>
          </c:cat>
          <c:val>
            <c:numRef>
              <c:f>Sheet1!$E$2:$E$9</c:f>
              <c:numCache>
                <c:formatCode>General</c:formatCode>
                <c:ptCount val="8"/>
                <c:pt idx="2">
                  <c:v>18.5</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6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Refills</c:v>
                  </c:pt>
                  <c:pt idx="1">
                    <c:v>Razors</c:v>
                  </c:pt>
                  <c:pt idx="2">
                    <c:v>Refills</c:v>
                  </c:pt>
                  <c:pt idx="3">
                    <c:v>Razors</c:v>
                  </c:pt>
                  <c:pt idx="4">
                    <c:v>Refills</c:v>
                  </c:pt>
                  <c:pt idx="5">
                    <c:v>Razors</c:v>
                  </c:pt>
                  <c:pt idx="6">
                    <c:v>Razors</c:v>
                  </c:pt>
                  <c:pt idx="7">
                    <c:v>Refills</c:v>
                  </c:pt>
                </c:lvl>
                <c:lvl>
                  <c:pt idx="0">
                    <c:v>Gillette</c:v>
                  </c:pt>
                  <c:pt idx="2">
                    <c:v>Equate</c:v>
                  </c:pt>
                  <c:pt idx="4">
                    <c:v>Schick</c:v>
                  </c:pt>
                  <c:pt idx="6">
                    <c:v>Cremo</c:v>
                  </c:pt>
                </c:lvl>
              </c:multiLvlStrCache>
            </c:multiLvlStrRef>
          </c:cat>
          <c:val>
            <c:numRef>
              <c:f>Sheet1!$F$2:$F$9</c:f>
              <c:numCache>
                <c:formatCode>General</c:formatCode>
                <c:ptCount val="8"/>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7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9</c:f>
              <c:multiLvlStrCache>
                <c:ptCount val="8"/>
                <c:lvl>
                  <c:pt idx="0">
                    <c:v>Refills</c:v>
                  </c:pt>
                  <c:pt idx="1">
                    <c:v>Razors</c:v>
                  </c:pt>
                  <c:pt idx="2">
                    <c:v>Refills</c:v>
                  </c:pt>
                  <c:pt idx="3">
                    <c:v>Razors</c:v>
                  </c:pt>
                  <c:pt idx="4">
                    <c:v>Refills</c:v>
                  </c:pt>
                  <c:pt idx="5">
                    <c:v>Razors</c:v>
                  </c:pt>
                  <c:pt idx="6">
                    <c:v>Razors</c:v>
                  </c:pt>
                  <c:pt idx="7">
                    <c:v>Refills</c:v>
                  </c:pt>
                </c:lvl>
                <c:lvl>
                  <c:pt idx="0">
                    <c:v>Gillette</c:v>
                  </c:pt>
                  <c:pt idx="2">
                    <c:v>Equate</c:v>
                  </c:pt>
                  <c:pt idx="4">
                    <c:v>Schick</c:v>
                  </c:pt>
                  <c:pt idx="6">
                    <c:v>Cremo</c:v>
                  </c:pt>
                </c:lvl>
              </c:multiLvlStrCache>
            </c:multiLvlStrRef>
          </c:cat>
          <c:val>
            <c:numRef>
              <c:f>Sheet1!$G$2:$G$9</c:f>
              <c:numCache>
                <c:formatCode>General</c:formatCode>
                <c:ptCount val="8"/>
                <c:pt idx="5">
                  <c:v>15.0</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Refills</c:v>
                  </c:pt>
                  <c:pt idx="1">
                    <c:v>Razors</c:v>
                  </c:pt>
                  <c:pt idx="2">
                    <c:v>Refills</c:v>
                  </c:pt>
                  <c:pt idx="3">
                    <c:v>Razors</c:v>
                  </c:pt>
                  <c:pt idx="4">
                    <c:v>Refills</c:v>
                  </c:pt>
                  <c:pt idx="5">
                    <c:v>Razors</c:v>
                  </c:pt>
                  <c:pt idx="6">
                    <c:v>Razors</c:v>
                  </c:pt>
                  <c:pt idx="7">
                    <c:v>Refills</c:v>
                  </c:pt>
                </c:lvl>
                <c:lvl>
                  <c:pt idx="0">
                    <c:v>Gillette</c:v>
                  </c:pt>
                  <c:pt idx="2">
                    <c:v>Equate</c:v>
                  </c:pt>
                  <c:pt idx="4">
                    <c:v>Schick</c:v>
                  </c:pt>
                  <c:pt idx="6">
                    <c:v>Cremo</c:v>
                  </c:pt>
                </c:lvl>
              </c:multiLvlStrCache>
            </c:multiLvlStrRef>
          </c:cat>
          <c:val>
            <c:numRef>
              <c:f>Sheet1!$H$2:$H$9</c:f>
              <c:numCache>
                <c:formatCode>General</c:formatCode>
                <c:ptCount val="8"/>
                <c:pt idx="3">
                  <c:v>3.5</c:v>
                </c:pt>
                <c:pt idx="5">
                  <c:v>14.0</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20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Refills</c:v>
                  </c:pt>
                  <c:pt idx="1">
                    <c:v>Razors</c:v>
                  </c:pt>
                  <c:pt idx="2">
                    <c:v>Refills</c:v>
                  </c:pt>
                  <c:pt idx="3">
                    <c:v>Razors</c:v>
                  </c:pt>
                  <c:pt idx="4">
                    <c:v>Refills</c:v>
                  </c:pt>
                  <c:pt idx="5">
                    <c:v>Razors</c:v>
                  </c:pt>
                  <c:pt idx="6">
                    <c:v>Razors</c:v>
                  </c:pt>
                  <c:pt idx="7">
                    <c:v>Refills</c:v>
                  </c:pt>
                </c:lvl>
                <c:lvl>
                  <c:pt idx="0">
                    <c:v>Gillette</c:v>
                  </c:pt>
                  <c:pt idx="2">
                    <c:v>Equate</c:v>
                  </c:pt>
                  <c:pt idx="4">
                    <c:v>Schick</c:v>
                  </c:pt>
                  <c:pt idx="6">
                    <c:v>Cremo</c:v>
                  </c:pt>
                </c:lvl>
              </c:multiLvlStrCache>
            </c:multiLvlStrRef>
          </c:cat>
          <c:val>
            <c:numRef>
              <c:f>Sheet1!$I$2:$I$9</c:f>
              <c:numCache>
                <c:formatCode>General</c:formatCode>
                <c:ptCount val="8"/>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CT</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Refills</c:v>
                  </c:pt>
                  <c:pt idx="1">
                    <c:v>Razors</c:v>
                  </c:pt>
                  <c:pt idx="2">
                    <c:v>Refills</c:v>
                  </c:pt>
                  <c:pt idx="3">
                    <c:v>Razors</c:v>
                  </c:pt>
                  <c:pt idx="4">
                    <c:v>Refills</c:v>
                  </c:pt>
                  <c:pt idx="5">
                    <c:v>Razors</c:v>
                  </c:pt>
                  <c:pt idx="6">
                    <c:v>Razors</c:v>
                  </c:pt>
                  <c:pt idx="7">
                    <c:v>Refills</c:v>
                  </c:pt>
                </c:lvl>
                <c:lvl>
                  <c:pt idx="0">
                    <c:v>Gillette</c:v>
                  </c:pt>
                  <c:pt idx="2">
                    <c:v>Equate</c:v>
                  </c:pt>
                  <c:pt idx="4">
                    <c:v>Schick</c:v>
                  </c:pt>
                  <c:pt idx="6">
                    <c:v>Cremo</c:v>
                  </c:pt>
                </c:lvl>
              </c:multiLvlStrCache>
            </c:multiLvlStrRef>
          </c:cat>
          <c:val>
            <c:numRef>
              <c:f>Sheet1!$J$2:$J$9</c:f>
              <c:numCache>
                <c:formatCode>General</c:formatCode>
                <c:ptCount val="8"/>
                <c:pt idx="3">
                  <c:v>8.4401</c:v>
                </c:pt>
                <c:pt idx="5">
                  <c:v>4.3177</c:v>
                </c:pt>
                <c:pt idx="6">
                  <c:v>14.8057</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3CT</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Refills</c:v>
                  </c:pt>
                  <c:pt idx="1">
                    <c:v>Razors</c:v>
                  </c:pt>
                  <c:pt idx="2">
                    <c:v>Refills</c:v>
                  </c:pt>
                  <c:pt idx="3">
                    <c:v>Razors</c:v>
                  </c:pt>
                  <c:pt idx="4">
                    <c:v>Refills</c:v>
                  </c:pt>
                  <c:pt idx="5">
                    <c:v>Razors</c:v>
                  </c:pt>
                  <c:pt idx="6">
                    <c:v>Razors</c:v>
                  </c:pt>
                  <c:pt idx="7">
                    <c:v>Refills</c:v>
                  </c:pt>
                </c:lvl>
                <c:lvl>
                  <c:pt idx="0">
                    <c:v>Gillette</c:v>
                  </c:pt>
                  <c:pt idx="2">
                    <c:v>Equate</c:v>
                  </c:pt>
                  <c:pt idx="4">
                    <c:v>Schick</c:v>
                  </c:pt>
                  <c:pt idx="6">
                    <c:v>Cremo</c:v>
                  </c:pt>
                </c:lvl>
              </c:multiLvlStrCache>
            </c:multiLvlStrRef>
          </c:cat>
          <c:val>
            <c:numRef>
              <c:f>Sheet1!$K$2:$K$9</c:f>
              <c:numCache>
                <c:formatCode>General</c:formatCode>
                <c:ptCount val="8"/>
                <c:pt idx="1">
                  <c:v>12.6612</c:v>
                </c:pt>
                <c:pt idx="5">
                  <c:v>9.5919</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4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9</c:f>
              <c:multiLvlStrCache>
                <c:ptCount val="8"/>
                <c:lvl>
                  <c:pt idx="0">
                    <c:v>Refills</c:v>
                  </c:pt>
                  <c:pt idx="1">
                    <c:v>Razors</c:v>
                  </c:pt>
                  <c:pt idx="2">
                    <c:v>Refills</c:v>
                  </c:pt>
                  <c:pt idx="3">
                    <c:v>Razors</c:v>
                  </c:pt>
                  <c:pt idx="4">
                    <c:v>Refills</c:v>
                  </c:pt>
                  <c:pt idx="5">
                    <c:v>Razors</c:v>
                  </c:pt>
                  <c:pt idx="6">
                    <c:v>Razors</c:v>
                  </c:pt>
                  <c:pt idx="7">
                    <c:v>Refills</c:v>
                  </c:pt>
                </c:lvl>
                <c:lvl>
                  <c:pt idx="0">
                    <c:v>Gillette</c:v>
                  </c:pt>
                  <c:pt idx="2">
                    <c:v>Equate</c:v>
                  </c:pt>
                  <c:pt idx="4">
                    <c:v>Schick</c:v>
                  </c:pt>
                  <c:pt idx="6">
                    <c:v>Cremo</c:v>
                  </c:pt>
                </c:lvl>
              </c:multiLvlStrCache>
            </c:multiLvlStrRef>
          </c:cat>
          <c:val>
            <c:numRef>
              <c:f>Sheet1!$L$2:$L$9</c:f>
              <c:numCache>
                <c:formatCode>General</c:formatCode>
                <c:ptCount val="8"/>
                <c:pt idx="2">
                  <c:v>8.9444</c:v>
                </c:pt>
                <c:pt idx="4">
                  <c:v>5.6729</c:v>
                </c:pt>
                <c:pt idx="5">
                  <c:v>9.5308</c:v>
                </c:pt>
                <c:pt idx="7">
                  <c:v>13.5345</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5CT</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Refills</c:v>
                  </c:pt>
                  <c:pt idx="1">
                    <c:v>Razors</c:v>
                  </c:pt>
                  <c:pt idx="2">
                    <c:v>Refills</c:v>
                  </c:pt>
                  <c:pt idx="3">
                    <c:v>Razors</c:v>
                  </c:pt>
                  <c:pt idx="4">
                    <c:v>Refills</c:v>
                  </c:pt>
                  <c:pt idx="5">
                    <c:v>Razors</c:v>
                  </c:pt>
                  <c:pt idx="6">
                    <c:v>Razors</c:v>
                  </c:pt>
                  <c:pt idx="7">
                    <c:v>Refills</c:v>
                  </c:pt>
                </c:lvl>
                <c:lvl>
                  <c:pt idx="0">
                    <c:v>Gillette</c:v>
                  </c:pt>
                  <c:pt idx="2">
                    <c:v>Equate</c:v>
                  </c:pt>
                  <c:pt idx="4">
                    <c:v>Schick</c:v>
                  </c:pt>
                  <c:pt idx="6">
                    <c:v>Cremo</c:v>
                  </c:pt>
                </c:lvl>
              </c:multiLvlStrCache>
            </c:multiLvlStrRef>
          </c:cat>
          <c:val>
            <c:numRef>
              <c:f>Sheet1!$M$2:$M$9</c:f>
              <c:numCache>
                <c:formatCode>General</c:formatCode>
                <c:ptCount val="8"/>
                <c:pt idx="2">
                  <c:v>5.4</c:v>
                </c:pt>
                <c:pt idx="4">
                  <c:v>8.3459</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6CT</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Refills</c:v>
                  </c:pt>
                  <c:pt idx="1">
                    <c:v>Razors</c:v>
                  </c:pt>
                  <c:pt idx="2">
                    <c:v>Refills</c:v>
                  </c:pt>
                  <c:pt idx="3">
                    <c:v>Razors</c:v>
                  </c:pt>
                  <c:pt idx="4">
                    <c:v>Refills</c:v>
                  </c:pt>
                  <c:pt idx="5">
                    <c:v>Razors</c:v>
                  </c:pt>
                  <c:pt idx="6">
                    <c:v>Razors</c:v>
                  </c:pt>
                  <c:pt idx="7">
                    <c:v>Refills</c:v>
                  </c:pt>
                </c:lvl>
                <c:lvl>
                  <c:pt idx="0">
                    <c:v>Gillette</c:v>
                  </c:pt>
                  <c:pt idx="2">
                    <c:v>Equate</c:v>
                  </c:pt>
                  <c:pt idx="4">
                    <c:v>Schick</c:v>
                  </c:pt>
                  <c:pt idx="6">
                    <c:v>Cremo</c:v>
                  </c:pt>
                </c:lvl>
              </c:multiLvlStrCache>
            </c:multiLvlStrRef>
          </c:cat>
          <c:val>
            <c:numRef>
              <c:f>Sheet1!$N$2:$N$9</c:f>
              <c:numCache>
                <c:formatCode>General</c:formatCode>
                <c:ptCount val="8"/>
                <c:pt idx="0">
                  <c:v>34.2743</c:v>
                </c:pt>
                <c:pt idx="4">
                  <c:v>14.5899</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7CT</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9</c:f>
              <c:multiLvlStrCache>
                <c:ptCount val="8"/>
                <c:lvl>
                  <c:pt idx="0">
                    <c:v>Refills</c:v>
                  </c:pt>
                  <c:pt idx="1">
                    <c:v>Razors</c:v>
                  </c:pt>
                  <c:pt idx="2">
                    <c:v>Refills</c:v>
                  </c:pt>
                  <c:pt idx="3">
                    <c:v>Razors</c:v>
                  </c:pt>
                  <c:pt idx="4">
                    <c:v>Refills</c:v>
                  </c:pt>
                  <c:pt idx="5">
                    <c:v>Razors</c:v>
                  </c:pt>
                  <c:pt idx="6">
                    <c:v>Razors</c:v>
                  </c:pt>
                  <c:pt idx="7">
                    <c:v>Refills</c:v>
                  </c:pt>
                </c:lvl>
                <c:lvl>
                  <c:pt idx="0">
                    <c:v>Gillette</c:v>
                  </c:pt>
                  <c:pt idx="2">
                    <c:v>Equate</c:v>
                  </c:pt>
                  <c:pt idx="4">
                    <c:v>Schick</c:v>
                  </c:pt>
                  <c:pt idx="6">
                    <c:v>Cremo</c:v>
                  </c:pt>
                </c:lvl>
              </c:multiLvlStrCache>
            </c:multiLvlStrRef>
          </c:cat>
          <c:val>
            <c:numRef>
              <c:f>Sheet1!$O$2:$O$9</c:f>
              <c:numCache>
                <c:formatCode>General</c:formatCode>
                <c:ptCount val="8"/>
                <c:pt idx="1">
                  <c:v>28.5356</c:v>
                </c:pt>
                <c:pt idx="4">
                  <c:v>4.0</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8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Refills</c:v>
                  </c:pt>
                  <c:pt idx="1">
                    <c:v>Razors</c:v>
                  </c:pt>
                  <c:pt idx="2">
                    <c:v>Refills</c:v>
                  </c:pt>
                  <c:pt idx="3">
                    <c:v>Razors</c:v>
                  </c:pt>
                  <c:pt idx="4">
                    <c:v>Refills</c:v>
                  </c:pt>
                  <c:pt idx="5">
                    <c:v>Razors</c:v>
                  </c:pt>
                  <c:pt idx="6">
                    <c:v>Razors</c:v>
                  </c:pt>
                  <c:pt idx="7">
                    <c:v>Refills</c:v>
                  </c:pt>
                </c:lvl>
                <c:lvl>
                  <c:pt idx="0">
                    <c:v>Gillette</c:v>
                  </c:pt>
                  <c:pt idx="2">
                    <c:v>Equate</c:v>
                  </c:pt>
                  <c:pt idx="4">
                    <c:v>Schick</c:v>
                  </c:pt>
                  <c:pt idx="6">
                    <c:v>Cremo</c:v>
                  </c:pt>
                </c:lvl>
              </c:multiLvlStrCache>
            </c:multiLvlStrRef>
          </c:cat>
          <c:val>
            <c:numRef>
              <c:f>Sheet1!$P$2:$P$9</c:f>
              <c:numCache>
                <c:formatCode>General</c:formatCode>
                <c:ptCount val="8"/>
                <c:pt idx="2">
                  <c:v>15.2946</c:v>
                </c:pt>
                <c:pt idx="4">
                  <c:v>5.3163</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8/04/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8/4/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4/0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4/0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4/0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4/0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8/4/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8/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8/4/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8/4/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xml"/></Relationships>
</file>

<file path=ppt/slides/_rels/slide100.xml.rels><?xml version='1.0' encoding='UTF-8' standalone='yes'?>
<Relationships xmlns="http://schemas.openxmlformats.org/package/2006/relationships"><Relationship Id="rId1" Type="http://schemas.openxmlformats.org/officeDocument/2006/relationships/tags" Target="../tags/tag12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0.xml"/></Relationships>
</file>

<file path=ppt/slides/_rels/slide101.xml.rels><?xml version='1.0' encoding='UTF-8' standalone='yes'?>
<Relationships xmlns="http://schemas.openxmlformats.org/package/2006/relationships"><Relationship Id="rId1" Type="http://schemas.openxmlformats.org/officeDocument/2006/relationships/tags" Target="../tags/tag1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1.xml"/></Relationships>
</file>

<file path=ppt/slides/_rels/slide102.xml.rels><?xml version='1.0' encoding='UTF-8' standalone='yes'?>
<Relationships xmlns="http://schemas.openxmlformats.org/package/2006/relationships"><Relationship Id="rId1" Type="http://schemas.openxmlformats.org/officeDocument/2006/relationships/tags" Target="../tags/tag1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2.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xml"/></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2.xml"/></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3.xml"/></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4.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5.xml"/></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6.xml"/></Relationships>
</file>

<file path=ppt/slides/_rels/slide37.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7.xml"/></Relationships>
</file>

<file path=ppt/slides/_rels/slide38.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8.xml"/></Relationships>
</file>

<file path=ppt/slides/_rels/slide39.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9.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xml"/></Relationships>
</file>

<file path=ppt/slides/_rels/slide40.xml.rels><?xml version='1.0' encoding='UTF-8' standalone='yes'?>
<Relationships xmlns="http://schemas.openxmlformats.org/package/2006/relationships"><Relationship Id="rId1" Type="http://schemas.openxmlformats.org/officeDocument/2006/relationships/tags" Target="../tags/tag6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0.xml"/></Relationships>
</file>

<file path=ppt/slides/_rels/slide41.xml.rels><?xml version='1.0' encoding='UTF-8' standalone='yes'?>
<Relationships xmlns="http://schemas.openxmlformats.org/package/2006/relationships"><Relationship Id="rId1" Type="http://schemas.openxmlformats.org/officeDocument/2006/relationships/tags" Target="../tags/tag6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1.xml"/></Relationships>
</file>

<file path=ppt/slides/_rels/slide42.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2.xml"/></Relationships>
</file>

<file path=ppt/slides/_rels/slide43.xml.rels><?xml version='1.0' encoding='UTF-8' standalone='yes'?>
<Relationships xmlns="http://schemas.openxmlformats.org/package/2006/relationships"><Relationship Id="rId1" Type="http://schemas.openxmlformats.org/officeDocument/2006/relationships/tags" Target="../tags/tag7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3.xml"/></Relationships>
</file>

<file path=ppt/slides/_rels/slide44.xml.rels><?xml version='1.0' encoding='UTF-8' standalone='yes'?>
<Relationships xmlns="http://schemas.openxmlformats.org/package/2006/relationships"><Relationship Id="rId1" Type="http://schemas.openxmlformats.org/officeDocument/2006/relationships/tags" Target="../tags/tag7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4.xml"/></Relationships>
</file>

<file path=ppt/slides/_rels/slide45.xml.rels><?xml version='1.0' encoding='UTF-8' standalone='yes'?>
<Relationships xmlns="http://schemas.openxmlformats.org/package/2006/relationships"><Relationship Id="rId1" Type="http://schemas.openxmlformats.org/officeDocument/2006/relationships/tags" Target="../tags/tag7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5.xml"/></Relationships>
</file>

<file path=ppt/slides/_rels/slide46.xml.rels><?xml version='1.0' encoding='UTF-8' standalone='yes'?>
<Relationships xmlns="http://schemas.openxmlformats.org/package/2006/relationships"><Relationship Id="rId1" Type="http://schemas.openxmlformats.org/officeDocument/2006/relationships/tags" Target="../tags/tag7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6.xml"/></Relationships>
</file>

<file path=ppt/slides/_rels/slide47.xml.rels><?xml version='1.0' encoding='UTF-8' standalone='yes'?>
<Relationships xmlns="http://schemas.openxmlformats.org/package/2006/relationships"><Relationship Id="rId1" Type="http://schemas.openxmlformats.org/officeDocument/2006/relationships/tags" Target="../tags/tag7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7.xml"/></Relationships>
</file>

<file path=ppt/slides/_rels/slide48.xml.rels><?xml version='1.0' encoding='UTF-8' standalone='yes'?>
<Relationships xmlns="http://schemas.openxmlformats.org/package/2006/relationships"><Relationship Id="rId1" Type="http://schemas.openxmlformats.org/officeDocument/2006/relationships/tags" Target="../tags/tag7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8.xml"/></Relationships>
</file>

<file path=ppt/slides/_rels/slide49.xml.rels><?xml version='1.0' encoding='UTF-8' standalone='yes'?>
<Relationships xmlns="http://schemas.openxmlformats.org/package/2006/relationships"><Relationship Id="rId1" Type="http://schemas.openxmlformats.org/officeDocument/2006/relationships/tags" Target="../tags/tag7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9.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xml"/></Relationships>
</file>

<file path=ppt/slides/_rels/slide50.xml.rels><?xml version='1.0' encoding='UTF-8' standalone='yes'?>
<Relationships xmlns="http://schemas.openxmlformats.org/package/2006/relationships"><Relationship Id="rId1" Type="http://schemas.openxmlformats.org/officeDocument/2006/relationships/tags" Target="../tags/tag7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0.xml"/></Relationships>
</file>

<file path=ppt/slides/_rels/slide51.xml.rels><?xml version='1.0' encoding='UTF-8' standalone='yes'?>
<Relationships xmlns="http://schemas.openxmlformats.org/package/2006/relationships"><Relationship Id="rId1" Type="http://schemas.openxmlformats.org/officeDocument/2006/relationships/tags" Target="../tags/tag7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1.xml"/></Relationships>
</file>

<file path=ppt/slides/_rels/slide52.xml.rels><?xml version='1.0' encoding='UTF-8' standalone='yes'?>
<Relationships xmlns="http://schemas.openxmlformats.org/package/2006/relationships"><Relationship Id="rId1" Type="http://schemas.openxmlformats.org/officeDocument/2006/relationships/tags" Target="../tags/tag7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2.xml"/></Relationships>
</file>

<file path=ppt/slides/_rels/slide53.xml.rels><?xml version='1.0' encoding='UTF-8' standalone='yes'?>
<Relationships xmlns="http://schemas.openxmlformats.org/package/2006/relationships"><Relationship Id="rId1" Type="http://schemas.openxmlformats.org/officeDocument/2006/relationships/tags" Target="../tags/tag8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3.xml"/></Relationships>
</file>

<file path=ppt/slides/_rels/slide54.xml.rels><?xml version='1.0' encoding='UTF-8' standalone='yes'?>
<Relationships xmlns="http://schemas.openxmlformats.org/package/2006/relationships"><Relationship Id="rId1" Type="http://schemas.openxmlformats.org/officeDocument/2006/relationships/tags" Target="../tags/tag8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4.xml"/></Relationships>
</file>

<file path=ppt/slides/_rels/slide55.xml.rels><?xml version='1.0' encoding='UTF-8' standalone='yes'?>
<Relationships xmlns="http://schemas.openxmlformats.org/package/2006/relationships"><Relationship Id="rId1" Type="http://schemas.openxmlformats.org/officeDocument/2006/relationships/tags" Target="../tags/tag8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5.xml"/></Relationships>
</file>

<file path=ppt/slides/_rels/slide56.xml.rels><?xml version='1.0' encoding='UTF-8' standalone='yes'?>
<Relationships xmlns="http://schemas.openxmlformats.org/package/2006/relationships"><Relationship Id="rId1" Type="http://schemas.openxmlformats.org/officeDocument/2006/relationships/tags" Target="../tags/tag8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6.xml"/></Relationships>
</file>

<file path=ppt/slides/_rels/slide57.xml.rels><?xml version='1.0' encoding='UTF-8' standalone='yes'?>
<Relationships xmlns="http://schemas.openxmlformats.org/package/2006/relationships"><Relationship Id="rId1" Type="http://schemas.openxmlformats.org/officeDocument/2006/relationships/tags" Target="../tags/tag8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7.xml"/></Relationships>
</file>

<file path=ppt/slides/_rels/slide58.xml.rels><?xml version='1.0' encoding='UTF-8' standalone='yes'?>
<Relationships xmlns="http://schemas.openxmlformats.org/package/2006/relationships"><Relationship Id="rId1" Type="http://schemas.openxmlformats.org/officeDocument/2006/relationships/tags" Target="../tags/tag8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8.xml"/></Relationships>
</file>

<file path=ppt/slides/_rels/slide59.xml.rels><?xml version='1.0' encoding='UTF-8' standalone='yes'?>
<Relationships xmlns="http://schemas.openxmlformats.org/package/2006/relationships"><Relationship Id="rId1" Type="http://schemas.openxmlformats.org/officeDocument/2006/relationships/tags" Target="../tags/tag8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9.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xml"/></Relationships>
</file>

<file path=ppt/slides/_rels/slide60.xml.rels><?xml version='1.0' encoding='UTF-8' standalone='yes'?>
<Relationships xmlns="http://schemas.openxmlformats.org/package/2006/relationships"><Relationship Id="rId1" Type="http://schemas.openxmlformats.org/officeDocument/2006/relationships/tags" Target="../tags/tag8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0.xml"/></Relationships>
</file>

<file path=ppt/slides/_rels/slide61.xml.rels><?xml version='1.0' encoding='UTF-8' standalone='yes'?>
<Relationships xmlns="http://schemas.openxmlformats.org/package/2006/relationships"><Relationship Id="rId1" Type="http://schemas.openxmlformats.org/officeDocument/2006/relationships/tags" Target="../tags/tag8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1.xml"/></Relationships>
</file>

<file path=ppt/slides/_rels/slide62.xml.rels><?xml version='1.0' encoding='UTF-8' standalone='yes'?>
<Relationships xmlns="http://schemas.openxmlformats.org/package/2006/relationships"><Relationship Id="rId1" Type="http://schemas.openxmlformats.org/officeDocument/2006/relationships/tags" Target="../tags/tag8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2.xml"/></Relationships>
</file>

<file path=ppt/slides/_rels/slide63.xml.rels><?xml version='1.0' encoding='UTF-8' standalone='yes'?>
<Relationships xmlns="http://schemas.openxmlformats.org/package/2006/relationships"><Relationship Id="rId1" Type="http://schemas.openxmlformats.org/officeDocument/2006/relationships/tags" Target="../tags/tag9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3.xml"/></Relationships>
</file>

<file path=ppt/slides/_rels/slide64.xml.rels><?xml version='1.0' encoding='UTF-8' standalone='yes'?>
<Relationships xmlns="http://schemas.openxmlformats.org/package/2006/relationships"><Relationship Id="rId1" Type="http://schemas.openxmlformats.org/officeDocument/2006/relationships/tags" Target="../tags/tag9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4.xml"/></Relationships>
</file>

<file path=ppt/slides/_rels/slide65.xml.rels><?xml version='1.0' encoding='UTF-8' standalone='yes'?>
<Relationships xmlns="http://schemas.openxmlformats.org/package/2006/relationships"><Relationship Id="rId1" Type="http://schemas.openxmlformats.org/officeDocument/2006/relationships/tags" Target="../tags/tag9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5.xml"/></Relationships>
</file>

<file path=ppt/slides/_rels/slide66.xml.rels><?xml version='1.0' encoding='UTF-8' standalone='yes'?>
<Relationships xmlns="http://schemas.openxmlformats.org/package/2006/relationships"><Relationship Id="rId1" Type="http://schemas.openxmlformats.org/officeDocument/2006/relationships/tags" Target="../tags/tag9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6.xml"/></Relationships>
</file>

<file path=ppt/slides/_rels/slide67.xml.rels><?xml version='1.0' encoding='UTF-8' standalone='yes'?>
<Relationships xmlns="http://schemas.openxmlformats.org/package/2006/relationships"><Relationship Id="rId1" Type="http://schemas.openxmlformats.org/officeDocument/2006/relationships/tags" Target="../tags/tag9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7.xml"/></Relationships>
</file>

<file path=ppt/slides/_rels/slide68.xml.rels><?xml version='1.0' encoding='UTF-8' standalone='yes'?>
<Relationships xmlns="http://schemas.openxmlformats.org/package/2006/relationships"><Relationship Id="rId1" Type="http://schemas.openxmlformats.org/officeDocument/2006/relationships/tags" Target="../tags/tag9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8.xml"/></Relationships>
</file>

<file path=ppt/slides/_rels/slide69.xml.rels><?xml version='1.0' encoding='UTF-8' standalone='yes'?>
<Relationships xmlns="http://schemas.openxmlformats.org/package/2006/relationships"><Relationship Id="rId1" Type="http://schemas.openxmlformats.org/officeDocument/2006/relationships/tags" Target="../tags/tag9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9.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xml"/></Relationships>
</file>

<file path=ppt/slides/_rels/slide70.xml.rels><?xml version='1.0' encoding='UTF-8' standalone='yes'?>
<Relationships xmlns="http://schemas.openxmlformats.org/package/2006/relationships"><Relationship Id="rId1" Type="http://schemas.openxmlformats.org/officeDocument/2006/relationships/tags" Target="../tags/tag9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0.xml"/></Relationships>
</file>

<file path=ppt/slides/_rels/slide71.xml.rels><?xml version='1.0' encoding='UTF-8' standalone='yes'?>
<Relationships xmlns="http://schemas.openxmlformats.org/package/2006/relationships"><Relationship Id="rId1" Type="http://schemas.openxmlformats.org/officeDocument/2006/relationships/tags" Target="../tags/tag9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1.xml"/></Relationships>
</file>

<file path=ppt/slides/_rels/slide72.xml.rels><?xml version='1.0' encoding='UTF-8' standalone='yes'?>
<Relationships xmlns="http://schemas.openxmlformats.org/package/2006/relationships"><Relationship Id="rId1" Type="http://schemas.openxmlformats.org/officeDocument/2006/relationships/tags" Target="../tags/tag9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2.xml"/></Relationships>
</file>

<file path=ppt/slides/_rels/slide73.xml.rels><?xml version='1.0' encoding='UTF-8' standalone='yes'?>
<Relationships xmlns="http://schemas.openxmlformats.org/package/2006/relationships"><Relationship Id="rId1" Type="http://schemas.openxmlformats.org/officeDocument/2006/relationships/tags" Target="../tags/tag10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3.xml"/></Relationships>
</file>

<file path=ppt/slides/_rels/slide74.xml.rels><?xml version='1.0' encoding='UTF-8' standalone='yes'?>
<Relationships xmlns="http://schemas.openxmlformats.org/package/2006/relationships"><Relationship Id="rId1" Type="http://schemas.openxmlformats.org/officeDocument/2006/relationships/tags" Target="../tags/tag10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4.xml"/></Relationships>
</file>

<file path=ppt/slides/_rels/slide75.xml.rels><?xml version='1.0' encoding='UTF-8' standalone='yes'?>
<Relationships xmlns="http://schemas.openxmlformats.org/package/2006/relationships"><Relationship Id="rId1" Type="http://schemas.openxmlformats.org/officeDocument/2006/relationships/tags" Target="../tags/tag10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5.xml"/></Relationships>
</file>

<file path=ppt/slides/_rels/slide76.xml.rels><?xml version='1.0' encoding='UTF-8' standalone='yes'?>
<Relationships xmlns="http://schemas.openxmlformats.org/package/2006/relationships"><Relationship Id="rId1" Type="http://schemas.openxmlformats.org/officeDocument/2006/relationships/tags" Target="../tags/tag10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6.xml"/></Relationships>
</file>

<file path=ppt/slides/_rels/slide77.xml.rels><?xml version='1.0' encoding='UTF-8' standalone='yes'?>
<Relationships xmlns="http://schemas.openxmlformats.org/package/2006/relationships"><Relationship Id="rId1" Type="http://schemas.openxmlformats.org/officeDocument/2006/relationships/tags" Target="../tags/tag10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7.xml"/></Relationships>
</file>

<file path=ppt/slides/_rels/slide78.xml.rels><?xml version='1.0' encoding='UTF-8' standalone='yes'?>
<Relationships xmlns="http://schemas.openxmlformats.org/package/2006/relationships"><Relationship Id="rId1" Type="http://schemas.openxmlformats.org/officeDocument/2006/relationships/tags" Target="../tags/tag10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8.xml"/></Relationships>
</file>

<file path=ppt/slides/_rels/slide79.xml.rels><?xml version='1.0' encoding='UTF-8' standalone='yes'?>
<Relationships xmlns="http://schemas.openxmlformats.org/package/2006/relationships"><Relationship Id="rId1" Type="http://schemas.openxmlformats.org/officeDocument/2006/relationships/tags" Target="../tags/tag10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9.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xml"/></Relationships>
</file>

<file path=ppt/slides/_rels/slide80.xml.rels><?xml version='1.0' encoding='UTF-8' standalone='yes'?>
<Relationships xmlns="http://schemas.openxmlformats.org/package/2006/relationships"><Relationship Id="rId1" Type="http://schemas.openxmlformats.org/officeDocument/2006/relationships/tags" Target="../tags/tag10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0.xml"/></Relationships>
</file>

<file path=ppt/slides/_rels/slide81.xml.rels><?xml version='1.0' encoding='UTF-8' standalone='yes'?>
<Relationships xmlns="http://schemas.openxmlformats.org/package/2006/relationships"><Relationship Id="rId1" Type="http://schemas.openxmlformats.org/officeDocument/2006/relationships/tags" Target="../tags/tag10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1.xml"/></Relationships>
</file>

<file path=ppt/slides/_rels/slide82.xml.rels><?xml version='1.0' encoding='UTF-8' standalone='yes'?>
<Relationships xmlns="http://schemas.openxmlformats.org/package/2006/relationships"><Relationship Id="rId1" Type="http://schemas.openxmlformats.org/officeDocument/2006/relationships/tags" Target="../tags/tag10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2.xml"/></Relationships>
</file>

<file path=ppt/slides/_rels/slide83.xml.rels><?xml version='1.0' encoding='UTF-8' standalone='yes'?>
<Relationships xmlns="http://schemas.openxmlformats.org/package/2006/relationships"><Relationship Id="rId1" Type="http://schemas.openxmlformats.org/officeDocument/2006/relationships/tags" Target="../tags/tag11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3.xml"/></Relationships>
</file>

<file path=ppt/slides/_rels/slide84.xml.rels><?xml version='1.0' encoding='UTF-8' standalone='yes'?>
<Relationships xmlns="http://schemas.openxmlformats.org/package/2006/relationships"><Relationship Id="rId1" Type="http://schemas.openxmlformats.org/officeDocument/2006/relationships/tags" Target="../tags/tag11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4.xml"/></Relationships>
</file>

<file path=ppt/slides/_rels/slide85.xml.rels><?xml version='1.0' encoding='UTF-8' standalone='yes'?>
<Relationships xmlns="http://schemas.openxmlformats.org/package/2006/relationships"><Relationship Id="rId1" Type="http://schemas.openxmlformats.org/officeDocument/2006/relationships/tags" Target="../tags/tag11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5.xml"/></Relationships>
</file>

<file path=ppt/slides/_rels/slide86.xml.rels><?xml version='1.0' encoding='UTF-8' standalone='yes'?>
<Relationships xmlns="http://schemas.openxmlformats.org/package/2006/relationships"><Relationship Id="rId1" Type="http://schemas.openxmlformats.org/officeDocument/2006/relationships/tags" Target="../tags/tag11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6.xml"/></Relationships>
</file>

<file path=ppt/slides/_rels/slide87.xml.rels><?xml version='1.0' encoding='UTF-8' standalone='yes'?>
<Relationships xmlns="http://schemas.openxmlformats.org/package/2006/relationships"><Relationship Id="rId1" Type="http://schemas.openxmlformats.org/officeDocument/2006/relationships/tags" Target="../tags/tag11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7.xml"/></Relationships>
</file>

<file path=ppt/slides/_rels/slide88.xml.rels><?xml version='1.0' encoding='UTF-8' standalone='yes'?>
<Relationships xmlns="http://schemas.openxmlformats.org/package/2006/relationships"><Relationship Id="rId1" Type="http://schemas.openxmlformats.org/officeDocument/2006/relationships/tags" Target="../tags/tag11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8.xml"/></Relationships>
</file>

<file path=ppt/slides/_rels/slide89.xml.rels><?xml version='1.0' encoding='UTF-8' standalone='yes'?>
<Relationships xmlns="http://schemas.openxmlformats.org/package/2006/relationships"><Relationship Id="rId1" Type="http://schemas.openxmlformats.org/officeDocument/2006/relationships/tags" Target="../tags/tag11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9.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xml"/></Relationships>
</file>

<file path=ppt/slides/_rels/slide90.xml.rels><?xml version='1.0' encoding='UTF-8' standalone='yes'?>
<Relationships xmlns="http://schemas.openxmlformats.org/package/2006/relationships"><Relationship Id="rId1" Type="http://schemas.openxmlformats.org/officeDocument/2006/relationships/tags" Target="../tags/tag11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0.xml"/></Relationships>
</file>

<file path=ppt/slides/_rels/slide91.xml.rels><?xml version='1.0' encoding='UTF-8' standalone='yes'?>
<Relationships xmlns="http://schemas.openxmlformats.org/package/2006/relationships"><Relationship Id="rId1" Type="http://schemas.openxmlformats.org/officeDocument/2006/relationships/tags" Target="../tags/tag11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1.xml"/></Relationships>
</file>

<file path=ppt/slides/_rels/slide92.xml.rels><?xml version='1.0' encoding='UTF-8' standalone='yes'?>
<Relationships xmlns="http://schemas.openxmlformats.org/package/2006/relationships"><Relationship Id="rId1" Type="http://schemas.openxmlformats.org/officeDocument/2006/relationships/tags" Target="../tags/tag11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2.xml"/></Relationships>
</file>

<file path=ppt/slides/_rels/slide93.xml.rels><?xml version='1.0' encoding='UTF-8' standalone='yes'?>
<Relationships xmlns="http://schemas.openxmlformats.org/package/2006/relationships"><Relationship Id="rId1" Type="http://schemas.openxmlformats.org/officeDocument/2006/relationships/tags" Target="../tags/tag12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3.xml"/></Relationships>
</file>

<file path=ppt/slides/_rels/slide94.xml.rels><?xml version='1.0' encoding='UTF-8' standalone='yes'?>
<Relationships xmlns="http://schemas.openxmlformats.org/package/2006/relationships"><Relationship Id="rId1" Type="http://schemas.openxmlformats.org/officeDocument/2006/relationships/tags" Target="../tags/tag12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4.xml"/></Relationships>
</file>

<file path=ppt/slides/_rels/slide95.xml.rels><?xml version='1.0' encoding='UTF-8' standalone='yes'?>
<Relationships xmlns="http://schemas.openxmlformats.org/package/2006/relationships"><Relationship Id="rId1" Type="http://schemas.openxmlformats.org/officeDocument/2006/relationships/tags" Target="../tags/tag12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5.xml"/></Relationships>
</file>

<file path=ppt/slides/_rels/slide96.xml.rels><?xml version='1.0' encoding='UTF-8' standalone='yes'?>
<Relationships xmlns="http://schemas.openxmlformats.org/package/2006/relationships"><Relationship Id="rId1" Type="http://schemas.openxmlformats.org/officeDocument/2006/relationships/tags" Target="../tags/tag12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6.xml"/></Relationships>
</file>

<file path=ppt/slides/_rels/slide97.xml.rels><?xml version='1.0' encoding='UTF-8' standalone='yes'?>
<Relationships xmlns="http://schemas.openxmlformats.org/package/2006/relationships"><Relationship Id="rId1" Type="http://schemas.openxmlformats.org/officeDocument/2006/relationships/tags" Target="../tags/tag12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7.xml"/></Relationships>
</file>

<file path=ppt/slides/_rels/slide98.xml.rels><?xml version='1.0' encoding='UTF-8' standalone='yes'?>
<Relationships xmlns="http://schemas.openxmlformats.org/package/2006/relationships"><Relationship Id="rId1" Type="http://schemas.openxmlformats.org/officeDocument/2006/relationships/tags" Target="../tags/tag12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8.xml"/></Relationships>
</file>

<file path=ppt/slides/_rels/slide99.xml.rels><?xml version='1.0' encoding='UTF-8' standalone='yes'?>
<Relationships xmlns="http://schemas.openxmlformats.org/package/2006/relationships"><Relationship Id="rId1" Type="http://schemas.openxmlformats.org/officeDocument/2006/relationships/tags" Target="../tags/tag12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chick | NATIONAL | Manual Shave M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0">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5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EFILL DRY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1473358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Cremo | Walmart | Manual Shave M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757505">
                  <a:extLst>
                    <a:ext uri="{9D8B030D-6E8A-4147-A177-3AD203B41FA5}">
                      <a16:colId xmlns:a16="http://schemas.microsoft.com/office/drawing/2014/main" val="1249427694"/>
                    </a:ext>
                  </a:extLst>
                </a:gridCol>
                <a:gridCol w="3757505">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976463079"/>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NATIONAL | Disposabl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59979464"/>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Bj's And Sam's | Disposabl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730644845"/>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Walmart | Disposabl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88060109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chick | NATIONAL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7">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EFILL DRY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STUBBLE ERASER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EFILL DRY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AZOR DRY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1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AZOR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AZOR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SILVER WHITE 4 BLADE RAZOR NORMAL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9781987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Cremo | NATIONAL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SILVER HOLIDAY GIFT PACK REM BLADES RAZOR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SILVER HOLIDAY GIFT PACK 5 BLADE RAZOR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52915879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chick | Walmart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1"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252501">
                  <a:extLst>
                    <a:ext uri="{9D8B030D-6E8A-4147-A177-3AD203B41FA5}">
                      <a16:colId xmlns:a16="http://schemas.microsoft.com/office/drawing/2014/main" val="1249427694"/>
                    </a:ext>
                  </a:extLst>
                </a:gridCol>
                <a:gridCol w="1252501">
                  <a:extLst>
                    <a:ext uri="{9D8B030D-6E8A-4147-A177-3AD203B41FA5}">
                      <a16:colId xmlns:a16="http://schemas.microsoft.com/office/drawing/2014/main" val="2218987241"/>
                    </a:ext>
                  </a:extLst>
                </a:gridCol>
                <a:gridCol w="1252501">
                  <a:extLst>
                    <a:ext uri="{9D8B030D-6E8A-4147-A177-3AD203B41FA5}">
                      <a16:colId xmlns:a16="http://schemas.microsoft.com/office/drawing/2014/main" val="3054438620"/>
                    </a:ext>
                  </a:extLst>
                </a:gridCol>
                <a:gridCol w="1252501">
                  <a:extLst>
                    <a:ext uri="{9D8B030D-6E8A-4147-A177-3AD203B41FA5}">
                      <a16:colId xmlns:a16="http://schemas.microsoft.com/office/drawing/2014/main" val="3260695282"/>
                    </a:ext>
                  </a:extLst>
                </a:gridCol>
                <a:gridCol w="1252501">
                  <a:extLst>
                    <a:ext uri="{9D8B030D-6E8A-4147-A177-3AD203B41FA5}">
                      <a16:colId xmlns:a16="http://schemas.microsoft.com/office/drawing/2014/main" val="2013999109"/>
                    </a:ext>
                  </a:extLst>
                </a:gridCol>
                <a:gridCol w="1252501">
                  <a:extLst>
                    <a:ext uri="{9D8B030D-6E8A-4147-A177-3AD203B41FA5}">
                      <a16:colId xmlns:a16="http://schemas.microsoft.com/office/drawing/2014/main" val="4444654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GRAY HOLIDAY GIFT PACK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5631434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Cremo | Walmart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757505">
                  <a:extLst>
                    <a:ext uri="{9D8B030D-6E8A-4147-A177-3AD203B41FA5}">
                      <a16:colId xmlns:a16="http://schemas.microsoft.com/office/drawing/2014/main" val="1249427694"/>
                    </a:ext>
                  </a:extLst>
                </a:gridCol>
                <a:gridCol w="3757505">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70242326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chick | NATIONAL | Disposabl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5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4 OUTLAST 4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FACE AND BODY 3 BLADE DISPOSABLE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5 BLACK GRAY 5 BLADE DISPOSABLE SENSITIVE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3 BLADE DISPOSABLE SENSITIVE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DUO COMFORT 3 BLADE DISPOSABLE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03516509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chick | Bj's And Sam's | Disposabl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757505">
                  <a:extLst>
                    <a:ext uri="{9D8B030D-6E8A-4147-A177-3AD203B41FA5}">
                      <a16:colId xmlns:a16="http://schemas.microsoft.com/office/drawing/2014/main" val="1249427694"/>
                    </a:ext>
                  </a:extLst>
                </a:gridCol>
                <a:gridCol w="3757505">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09130680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chick | Walmart | Disposabl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939376">
                  <a:extLst>
                    <a:ext uri="{9D8B030D-6E8A-4147-A177-3AD203B41FA5}">
                      <a16:colId xmlns:a16="http://schemas.microsoft.com/office/drawing/2014/main" val="1249427694"/>
                    </a:ext>
                  </a:extLst>
                </a:gridCol>
                <a:gridCol w="939376">
                  <a:extLst>
                    <a:ext uri="{9D8B030D-6E8A-4147-A177-3AD203B41FA5}">
                      <a16:colId xmlns:a16="http://schemas.microsoft.com/office/drawing/2014/main" val="2218987241"/>
                    </a:ext>
                  </a:extLst>
                </a:gridCol>
                <a:gridCol w="939376">
                  <a:extLst>
                    <a:ext uri="{9D8B030D-6E8A-4147-A177-3AD203B41FA5}">
                      <a16:colId xmlns:a16="http://schemas.microsoft.com/office/drawing/2014/main" val="3054438620"/>
                    </a:ext>
                  </a:extLst>
                </a:gridCol>
                <a:gridCol w="939376">
                  <a:extLst>
                    <a:ext uri="{9D8B030D-6E8A-4147-A177-3AD203B41FA5}">
                      <a16:colId xmlns:a16="http://schemas.microsoft.com/office/drawing/2014/main" val="3260695282"/>
                    </a:ext>
                  </a:extLst>
                </a:gridCol>
                <a:gridCol w="939376">
                  <a:extLst>
                    <a:ext uri="{9D8B030D-6E8A-4147-A177-3AD203B41FA5}">
                      <a16:colId xmlns:a16="http://schemas.microsoft.com/office/drawing/2014/main" val="2013999109"/>
                    </a:ext>
                  </a:extLst>
                </a:gridCol>
                <a:gridCol w="939376">
                  <a:extLst>
                    <a:ext uri="{9D8B030D-6E8A-4147-A177-3AD203B41FA5}">
                      <a16:colId xmlns:a16="http://schemas.microsoft.com/office/drawing/2014/main" val="444465486"/>
                    </a:ext>
                  </a:extLst>
                </a:gridCol>
                <a:gridCol w="939376">
                  <a:extLst>
                    <a:ext uri="{9D8B030D-6E8A-4147-A177-3AD203B41FA5}">
                      <a16:colId xmlns:a16="http://schemas.microsoft.com/office/drawing/2014/main" val="1559592490"/>
                    </a:ext>
                  </a:extLst>
                </a:gridCol>
                <a:gridCol w="939376">
                  <a:extLst>
                    <a:ext uri="{9D8B030D-6E8A-4147-A177-3AD203B41FA5}">
                      <a16:colId xmlns:a16="http://schemas.microsoft.com/office/drawing/2014/main" val="273595443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HOLIDAY GIFT P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85562264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chick | NATIONAL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7">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EFILL DRY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STUBBLE ERASER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AZOR DRY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AZOR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GRAY HOLIDAY GIFT PACK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1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AZOR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92795403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Cremo | NATIONAL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503002">
                  <a:extLst>
                    <a:ext uri="{9D8B030D-6E8A-4147-A177-3AD203B41FA5}">
                      <a16:colId xmlns:a16="http://schemas.microsoft.com/office/drawing/2014/main" val="1249427694"/>
                    </a:ext>
                  </a:extLst>
                </a:gridCol>
                <a:gridCol w="1503002">
                  <a:extLst>
                    <a:ext uri="{9D8B030D-6E8A-4147-A177-3AD203B41FA5}">
                      <a16:colId xmlns:a16="http://schemas.microsoft.com/office/drawing/2014/main" val="2218987241"/>
                    </a:ext>
                  </a:extLst>
                </a:gridCol>
                <a:gridCol w="1503002">
                  <a:extLst>
                    <a:ext uri="{9D8B030D-6E8A-4147-A177-3AD203B41FA5}">
                      <a16:colId xmlns:a16="http://schemas.microsoft.com/office/drawing/2014/main" val="3054438620"/>
                    </a:ext>
                  </a:extLst>
                </a:gridCol>
                <a:gridCol w="1503002">
                  <a:extLst>
                    <a:ext uri="{9D8B030D-6E8A-4147-A177-3AD203B41FA5}">
                      <a16:colId xmlns:a16="http://schemas.microsoft.com/office/drawing/2014/main" val="3260695282"/>
                    </a:ext>
                  </a:extLst>
                </a:gridCol>
                <a:gridCol w="1503002">
                  <a:extLst>
                    <a:ext uri="{9D8B030D-6E8A-4147-A177-3AD203B41FA5}">
                      <a16:colId xmlns:a16="http://schemas.microsoft.com/office/drawing/2014/main" val="2013999109"/>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SILVER HOLIDAY GIFT PACK 5 BLADE RAZOR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SILVER HOLIDAY GIFT PACK REM BLADES RAZOR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HERITAGE BLACK HOLIDAY GIFT PACK REM BLADES RAZOR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73300048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Cremo | NATIONAL | Manual Shave M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SILVER HOLIDAY GIFT PACK REM BLADES RAZOR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SILVER HOLIDAY GIFT PACK 5 BLADE RAZOR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4272556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chick | Walmart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4"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835001">
                  <a:extLst>
                    <a:ext uri="{9D8B030D-6E8A-4147-A177-3AD203B41FA5}">
                      <a16:colId xmlns:a16="http://schemas.microsoft.com/office/drawing/2014/main" val="1249427694"/>
                    </a:ext>
                  </a:extLst>
                </a:gridCol>
                <a:gridCol w="835001">
                  <a:extLst>
                    <a:ext uri="{9D8B030D-6E8A-4147-A177-3AD203B41FA5}">
                      <a16:colId xmlns:a16="http://schemas.microsoft.com/office/drawing/2014/main" val="2218987241"/>
                    </a:ext>
                  </a:extLst>
                </a:gridCol>
                <a:gridCol w="835001">
                  <a:extLst>
                    <a:ext uri="{9D8B030D-6E8A-4147-A177-3AD203B41FA5}">
                      <a16:colId xmlns:a16="http://schemas.microsoft.com/office/drawing/2014/main" val="3054438620"/>
                    </a:ext>
                  </a:extLst>
                </a:gridCol>
                <a:gridCol w="835001">
                  <a:extLst>
                    <a:ext uri="{9D8B030D-6E8A-4147-A177-3AD203B41FA5}">
                      <a16:colId xmlns:a16="http://schemas.microsoft.com/office/drawing/2014/main" val="3260695282"/>
                    </a:ext>
                  </a:extLst>
                </a:gridCol>
                <a:gridCol w="835001">
                  <a:extLst>
                    <a:ext uri="{9D8B030D-6E8A-4147-A177-3AD203B41FA5}">
                      <a16:colId xmlns:a16="http://schemas.microsoft.com/office/drawing/2014/main" val="2013999109"/>
                    </a:ext>
                  </a:extLst>
                </a:gridCol>
                <a:gridCol w="835001">
                  <a:extLst>
                    <a:ext uri="{9D8B030D-6E8A-4147-A177-3AD203B41FA5}">
                      <a16:colId xmlns:a16="http://schemas.microsoft.com/office/drawing/2014/main" val="444465486"/>
                    </a:ext>
                  </a:extLst>
                </a:gridCol>
                <a:gridCol w="835001">
                  <a:extLst>
                    <a:ext uri="{9D8B030D-6E8A-4147-A177-3AD203B41FA5}">
                      <a16:colId xmlns:a16="http://schemas.microsoft.com/office/drawing/2014/main" val="1559592490"/>
                    </a:ext>
                  </a:extLst>
                </a:gridCol>
                <a:gridCol w="835001">
                  <a:extLst>
                    <a:ext uri="{9D8B030D-6E8A-4147-A177-3AD203B41FA5}">
                      <a16:colId xmlns:a16="http://schemas.microsoft.com/office/drawing/2014/main" val="2735954434"/>
                    </a:ext>
                  </a:extLst>
                </a:gridCol>
                <a:gridCol w="835001">
                  <a:extLst>
                    <a:ext uri="{9D8B030D-6E8A-4147-A177-3AD203B41FA5}">
                      <a16:colId xmlns:a16="http://schemas.microsoft.com/office/drawing/2014/main" val="385986199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GRAY HOLIDAY GIFT PACK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AZOR DRY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16601295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Cremo | Walmart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757505">
                  <a:extLst>
                    <a:ext uri="{9D8B030D-6E8A-4147-A177-3AD203B41FA5}">
                      <a16:colId xmlns:a16="http://schemas.microsoft.com/office/drawing/2014/main" val="1249427694"/>
                    </a:ext>
                  </a:extLst>
                </a:gridCol>
                <a:gridCol w="3757505">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85609301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chick | NATIONAL | Disposabl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5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HOLIDAY GIFT P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FACE AND BODY 3 BLADE DISPOSABLE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4 OUTLAST 4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DUO COMFORT 3 BLADE DISPOSABLE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91700266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chick | Bj's And Sam's | Disposabl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3 BLADE DISPOSABLE SENSITIVE 2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77586604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chick | Walmart | Disposabl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939376">
                  <a:extLst>
                    <a:ext uri="{9D8B030D-6E8A-4147-A177-3AD203B41FA5}">
                      <a16:colId xmlns:a16="http://schemas.microsoft.com/office/drawing/2014/main" val="1249427694"/>
                    </a:ext>
                  </a:extLst>
                </a:gridCol>
                <a:gridCol w="939376">
                  <a:extLst>
                    <a:ext uri="{9D8B030D-6E8A-4147-A177-3AD203B41FA5}">
                      <a16:colId xmlns:a16="http://schemas.microsoft.com/office/drawing/2014/main" val="2218987241"/>
                    </a:ext>
                  </a:extLst>
                </a:gridCol>
                <a:gridCol w="939376">
                  <a:extLst>
                    <a:ext uri="{9D8B030D-6E8A-4147-A177-3AD203B41FA5}">
                      <a16:colId xmlns:a16="http://schemas.microsoft.com/office/drawing/2014/main" val="3054438620"/>
                    </a:ext>
                  </a:extLst>
                </a:gridCol>
                <a:gridCol w="939376">
                  <a:extLst>
                    <a:ext uri="{9D8B030D-6E8A-4147-A177-3AD203B41FA5}">
                      <a16:colId xmlns:a16="http://schemas.microsoft.com/office/drawing/2014/main" val="3260695282"/>
                    </a:ext>
                  </a:extLst>
                </a:gridCol>
                <a:gridCol w="939376">
                  <a:extLst>
                    <a:ext uri="{9D8B030D-6E8A-4147-A177-3AD203B41FA5}">
                      <a16:colId xmlns:a16="http://schemas.microsoft.com/office/drawing/2014/main" val="2013999109"/>
                    </a:ext>
                  </a:extLst>
                </a:gridCol>
                <a:gridCol w="939376">
                  <a:extLst>
                    <a:ext uri="{9D8B030D-6E8A-4147-A177-3AD203B41FA5}">
                      <a16:colId xmlns:a16="http://schemas.microsoft.com/office/drawing/2014/main" val="444465486"/>
                    </a:ext>
                  </a:extLst>
                </a:gridCol>
                <a:gridCol w="939376">
                  <a:extLst>
                    <a:ext uri="{9D8B030D-6E8A-4147-A177-3AD203B41FA5}">
                      <a16:colId xmlns:a16="http://schemas.microsoft.com/office/drawing/2014/main" val="1559592490"/>
                    </a:ext>
                  </a:extLst>
                </a:gridCol>
                <a:gridCol w="939376">
                  <a:extLst>
                    <a:ext uri="{9D8B030D-6E8A-4147-A177-3AD203B41FA5}">
                      <a16:colId xmlns:a16="http://schemas.microsoft.com/office/drawing/2014/main" val="273595443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HOLIDAY GIFT P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12216478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Personal Care | NATIONAL | Manual Shave M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0">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5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EFILL DRY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72371007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Personal Care | Bj's And Sam's | Manual Shave M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757505">
                  <a:extLst>
                    <a:ext uri="{9D8B030D-6E8A-4147-A177-3AD203B41FA5}">
                      <a16:colId xmlns:a16="http://schemas.microsoft.com/office/drawing/2014/main" val="1249427694"/>
                    </a:ext>
                  </a:extLst>
                </a:gridCol>
                <a:gridCol w="3757505">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5384473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Personal Care | Walmart | Manual Shave M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7">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8">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GRAY HOLIDAY GIFT PACK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2915567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Personal Care | NATIONAL | Manual Shave M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7">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8">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5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AZOR DRY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EFILL DRY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AZOR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GRAY HOLIDAY GIFT PACK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7264243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Personal Care | Bj's And Sam's | Manual Shave M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3 BLADE DISPOSABLE SENSITIVE 2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706500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chick | Bj's And Sam's | Manual Shave M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757505">
                  <a:extLst>
                    <a:ext uri="{9D8B030D-6E8A-4147-A177-3AD203B41FA5}">
                      <a16:colId xmlns:a16="http://schemas.microsoft.com/office/drawing/2014/main" val="1249427694"/>
                    </a:ext>
                  </a:extLst>
                </a:gridCol>
                <a:gridCol w="3757505">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74778245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Personal Care | Walmart | Manual Shave M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7">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HOLIDAY GIFT P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GRAY HOLIDAY GIFT PACK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26196268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Personal Care | NATIONAL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7">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EFILL DRY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STUBBLE ERASER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AZOR DRY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1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AZOR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AZOR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13831965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Personal Care | Walmart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939376">
                  <a:extLst>
                    <a:ext uri="{9D8B030D-6E8A-4147-A177-3AD203B41FA5}">
                      <a16:colId xmlns:a16="http://schemas.microsoft.com/office/drawing/2014/main" val="1249427694"/>
                    </a:ext>
                  </a:extLst>
                </a:gridCol>
                <a:gridCol w="939376">
                  <a:extLst>
                    <a:ext uri="{9D8B030D-6E8A-4147-A177-3AD203B41FA5}">
                      <a16:colId xmlns:a16="http://schemas.microsoft.com/office/drawing/2014/main" val="2218987241"/>
                    </a:ext>
                  </a:extLst>
                </a:gridCol>
                <a:gridCol w="939376">
                  <a:extLst>
                    <a:ext uri="{9D8B030D-6E8A-4147-A177-3AD203B41FA5}">
                      <a16:colId xmlns:a16="http://schemas.microsoft.com/office/drawing/2014/main" val="3054438620"/>
                    </a:ext>
                  </a:extLst>
                </a:gridCol>
                <a:gridCol w="939376">
                  <a:extLst>
                    <a:ext uri="{9D8B030D-6E8A-4147-A177-3AD203B41FA5}">
                      <a16:colId xmlns:a16="http://schemas.microsoft.com/office/drawing/2014/main" val="3260695282"/>
                    </a:ext>
                  </a:extLst>
                </a:gridCol>
                <a:gridCol w="939376">
                  <a:extLst>
                    <a:ext uri="{9D8B030D-6E8A-4147-A177-3AD203B41FA5}">
                      <a16:colId xmlns:a16="http://schemas.microsoft.com/office/drawing/2014/main" val="2013999109"/>
                    </a:ext>
                  </a:extLst>
                </a:gridCol>
                <a:gridCol w="939376">
                  <a:extLst>
                    <a:ext uri="{9D8B030D-6E8A-4147-A177-3AD203B41FA5}">
                      <a16:colId xmlns:a16="http://schemas.microsoft.com/office/drawing/2014/main" val="444465486"/>
                    </a:ext>
                  </a:extLst>
                </a:gridCol>
                <a:gridCol w="939376">
                  <a:extLst>
                    <a:ext uri="{9D8B030D-6E8A-4147-A177-3AD203B41FA5}">
                      <a16:colId xmlns:a16="http://schemas.microsoft.com/office/drawing/2014/main" val="1559592490"/>
                    </a:ext>
                  </a:extLst>
                </a:gridCol>
                <a:gridCol w="939376">
                  <a:extLst>
                    <a:ext uri="{9D8B030D-6E8A-4147-A177-3AD203B41FA5}">
                      <a16:colId xmlns:a16="http://schemas.microsoft.com/office/drawing/2014/main" val="273595443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GRAY HOLIDAY GIFT PACK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1564857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Personal Care | NATIONAL | Disposabl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5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4 OUTLAST 4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FACE AND BODY 3 BLADE DISPOSABLE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5 BLACK GRAY 5 BLADE DISPOSABLE SENSITIVE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3 BLADE DISPOSABLE SENSITIVE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DUO COMFORT 3 BLADE DISPOSABLE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20739323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Personal Care | Bj's And Sam's | Disposabl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757505">
                  <a:extLst>
                    <a:ext uri="{9D8B030D-6E8A-4147-A177-3AD203B41FA5}">
                      <a16:colId xmlns:a16="http://schemas.microsoft.com/office/drawing/2014/main" val="1249427694"/>
                    </a:ext>
                  </a:extLst>
                </a:gridCol>
                <a:gridCol w="3757505">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2612079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Personal Care | Walmart | Disposabl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939376">
                  <a:extLst>
                    <a:ext uri="{9D8B030D-6E8A-4147-A177-3AD203B41FA5}">
                      <a16:colId xmlns:a16="http://schemas.microsoft.com/office/drawing/2014/main" val="1249427694"/>
                    </a:ext>
                  </a:extLst>
                </a:gridCol>
                <a:gridCol w="939376">
                  <a:extLst>
                    <a:ext uri="{9D8B030D-6E8A-4147-A177-3AD203B41FA5}">
                      <a16:colId xmlns:a16="http://schemas.microsoft.com/office/drawing/2014/main" val="2218987241"/>
                    </a:ext>
                  </a:extLst>
                </a:gridCol>
                <a:gridCol w="939376">
                  <a:extLst>
                    <a:ext uri="{9D8B030D-6E8A-4147-A177-3AD203B41FA5}">
                      <a16:colId xmlns:a16="http://schemas.microsoft.com/office/drawing/2014/main" val="3054438620"/>
                    </a:ext>
                  </a:extLst>
                </a:gridCol>
                <a:gridCol w="939376">
                  <a:extLst>
                    <a:ext uri="{9D8B030D-6E8A-4147-A177-3AD203B41FA5}">
                      <a16:colId xmlns:a16="http://schemas.microsoft.com/office/drawing/2014/main" val="3260695282"/>
                    </a:ext>
                  </a:extLst>
                </a:gridCol>
                <a:gridCol w="939376">
                  <a:extLst>
                    <a:ext uri="{9D8B030D-6E8A-4147-A177-3AD203B41FA5}">
                      <a16:colId xmlns:a16="http://schemas.microsoft.com/office/drawing/2014/main" val="2013999109"/>
                    </a:ext>
                  </a:extLst>
                </a:gridCol>
                <a:gridCol w="939376">
                  <a:extLst>
                    <a:ext uri="{9D8B030D-6E8A-4147-A177-3AD203B41FA5}">
                      <a16:colId xmlns:a16="http://schemas.microsoft.com/office/drawing/2014/main" val="444465486"/>
                    </a:ext>
                  </a:extLst>
                </a:gridCol>
                <a:gridCol w="939376">
                  <a:extLst>
                    <a:ext uri="{9D8B030D-6E8A-4147-A177-3AD203B41FA5}">
                      <a16:colId xmlns:a16="http://schemas.microsoft.com/office/drawing/2014/main" val="1559592490"/>
                    </a:ext>
                  </a:extLst>
                </a:gridCol>
                <a:gridCol w="939376">
                  <a:extLst>
                    <a:ext uri="{9D8B030D-6E8A-4147-A177-3AD203B41FA5}">
                      <a16:colId xmlns:a16="http://schemas.microsoft.com/office/drawing/2014/main" val="273595443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HOLIDAY GIFT P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77840361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Personal Care | NATIONAL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7">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EFILL DRY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STUBBLE ERASER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AZOR DRY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AZOR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GRAY HOLIDAY GIFT PACK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1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96945459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Personal Care | Walmart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7"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83182">
                  <a:extLst>
                    <a:ext uri="{9D8B030D-6E8A-4147-A177-3AD203B41FA5}">
                      <a16:colId xmlns:a16="http://schemas.microsoft.com/office/drawing/2014/main" val="1249427694"/>
                    </a:ext>
                  </a:extLst>
                </a:gridCol>
                <a:gridCol w="683182">
                  <a:extLst>
                    <a:ext uri="{9D8B030D-6E8A-4147-A177-3AD203B41FA5}">
                      <a16:colId xmlns:a16="http://schemas.microsoft.com/office/drawing/2014/main" val="2218987241"/>
                    </a:ext>
                  </a:extLst>
                </a:gridCol>
                <a:gridCol w="683182">
                  <a:extLst>
                    <a:ext uri="{9D8B030D-6E8A-4147-A177-3AD203B41FA5}">
                      <a16:colId xmlns:a16="http://schemas.microsoft.com/office/drawing/2014/main" val="3054438620"/>
                    </a:ext>
                  </a:extLst>
                </a:gridCol>
                <a:gridCol w="683182">
                  <a:extLst>
                    <a:ext uri="{9D8B030D-6E8A-4147-A177-3AD203B41FA5}">
                      <a16:colId xmlns:a16="http://schemas.microsoft.com/office/drawing/2014/main" val="3260695282"/>
                    </a:ext>
                  </a:extLst>
                </a:gridCol>
                <a:gridCol w="683182">
                  <a:extLst>
                    <a:ext uri="{9D8B030D-6E8A-4147-A177-3AD203B41FA5}">
                      <a16:colId xmlns:a16="http://schemas.microsoft.com/office/drawing/2014/main" val="2013999109"/>
                    </a:ext>
                  </a:extLst>
                </a:gridCol>
                <a:gridCol w="683182">
                  <a:extLst>
                    <a:ext uri="{9D8B030D-6E8A-4147-A177-3AD203B41FA5}">
                      <a16:colId xmlns:a16="http://schemas.microsoft.com/office/drawing/2014/main" val="444465486"/>
                    </a:ext>
                  </a:extLst>
                </a:gridCol>
                <a:gridCol w="683182">
                  <a:extLst>
                    <a:ext uri="{9D8B030D-6E8A-4147-A177-3AD203B41FA5}">
                      <a16:colId xmlns:a16="http://schemas.microsoft.com/office/drawing/2014/main" val="1559592490"/>
                    </a:ext>
                  </a:extLst>
                </a:gridCol>
                <a:gridCol w="683182">
                  <a:extLst>
                    <a:ext uri="{9D8B030D-6E8A-4147-A177-3AD203B41FA5}">
                      <a16:colId xmlns:a16="http://schemas.microsoft.com/office/drawing/2014/main" val="2735954434"/>
                    </a:ext>
                  </a:extLst>
                </a:gridCol>
                <a:gridCol w="683182">
                  <a:extLst>
                    <a:ext uri="{9D8B030D-6E8A-4147-A177-3AD203B41FA5}">
                      <a16:colId xmlns:a16="http://schemas.microsoft.com/office/drawing/2014/main" val="3859861992"/>
                    </a:ext>
                  </a:extLst>
                </a:gridCol>
                <a:gridCol w="683182">
                  <a:extLst>
                    <a:ext uri="{9D8B030D-6E8A-4147-A177-3AD203B41FA5}">
                      <a16:colId xmlns:a16="http://schemas.microsoft.com/office/drawing/2014/main" val="460972006"/>
                    </a:ext>
                  </a:extLst>
                </a:gridCol>
                <a:gridCol w="683182">
                  <a:extLst>
                    <a:ext uri="{9D8B030D-6E8A-4147-A177-3AD203B41FA5}">
                      <a16:colId xmlns:a16="http://schemas.microsoft.com/office/drawing/2014/main" val="350762391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6">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GRAY HOLIDAY GIFT PACK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AZOR DRY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18617760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Personal Care | NATIONAL | Disposabl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5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HOLIDAY GIFT P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FACE AND BODY 3 BLADE DISPOSABLE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4 OUTLAST 4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DUO COMFORT 3 BLADE DISPOSABLE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314768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Personal Care | Bj's And Sam's | Disposabl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3 BLADE DISPOSABLE SENSITIVE 2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7886887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chick | Walmart | Manual Shave M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9"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36786">
                  <a:extLst>
                    <a:ext uri="{9D8B030D-6E8A-4147-A177-3AD203B41FA5}">
                      <a16:colId xmlns:a16="http://schemas.microsoft.com/office/drawing/2014/main" val="1249427694"/>
                    </a:ext>
                  </a:extLst>
                </a:gridCol>
                <a:gridCol w="536786">
                  <a:extLst>
                    <a:ext uri="{9D8B030D-6E8A-4147-A177-3AD203B41FA5}">
                      <a16:colId xmlns:a16="http://schemas.microsoft.com/office/drawing/2014/main" val="2218987241"/>
                    </a:ext>
                  </a:extLst>
                </a:gridCol>
                <a:gridCol w="536786">
                  <a:extLst>
                    <a:ext uri="{9D8B030D-6E8A-4147-A177-3AD203B41FA5}">
                      <a16:colId xmlns:a16="http://schemas.microsoft.com/office/drawing/2014/main" val="3054438620"/>
                    </a:ext>
                  </a:extLst>
                </a:gridCol>
                <a:gridCol w="536786">
                  <a:extLst>
                    <a:ext uri="{9D8B030D-6E8A-4147-A177-3AD203B41FA5}">
                      <a16:colId xmlns:a16="http://schemas.microsoft.com/office/drawing/2014/main" val="3260695282"/>
                    </a:ext>
                  </a:extLst>
                </a:gridCol>
                <a:gridCol w="536786">
                  <a:extLst>
                    <a:ext uri="{9D8B030D-6E8A-4147-A177-3AD203B41FA5}">
                      <a16:colId xmlns:a16="http://schemas.microsoft.com/office/drawing/2014/main" val="2013999109"/>
                    </a:ext>
                  </a:extLst>
                </a:gridCol>
                <a:gridCol w="536786">
                  <a:extLst>
                    <a:ext uri="{9D8B030D-6E8A-4147-A177-3AD203B41FA5}">
                      <a16:colId xmlns:a16="http://schemas.microsoft.com/office/drawing/2014/main" val="444465486"/>
                    </a:ext>
                  </a:extLst>
                </a:gridCol>
                <a:gridCol w="536786">
                  <a:extLst>
                    <a:ext uri="{9D8B030D-6E8A-4147-A177-3AD203B41FA5}">
                      <a16:colId xmlns:a16="http://schemas.microsoft.com/office/drawing/2014/main" val="1559592490"/>
                    </a:ext>
                  </a:extLst>
                </a:gridCol>
                <a:gridCol w="536786">
                  <a:extLst>
                    <a:ext uri="{9D8B030D-6E8A-4147-A177-3AD203B41FA5}">
                      <a16:colId xmlns:a16="http://schemas.microsoft.com/office/drawing/2014/main" val="2735954434"/>
                    </a:ext>
                  </a:extLst>
                </a:gridCol>
                <a:gridCol w="536786">
                  <a:extLst>
                    <a:ext uri="{9D8B030D-6E8A-4147-A177-3AD203B41FA5}">
                      <a16:colId xmlns:a16="http://schemas.microsoft.com/office/drawing/2014/main" val="3859861992"/>
                    </a:ext>
                  </a:extLst>
                </a:gridCol>
                <a:gridCol w="536786">
                  <a:extLst>
                    <a:ext uri="{9D8B030D-6E8A-4147-A177-3AD203B41FA5}">
                      <a16:colId xmlns:a16="http://schemas.microsoft.com/office/drawing/2014/main" val="460972006"/>
                    </a:ext>
                  </a:extLst>
                </a:gridCol>
                <a:gridCol w="536786">
                  <a:extLst>
                    <a:ext uri="{9D8B030D-6E8A-4147-A177-3AD203B41FA5}">
                      <a16:colId xmlns:a16="http://schemas.microsoft.com/office/drawing/2014/main" val="3507623914"/>
                    </a:ext>
                  </a:extLst>
                </a:gridCol>
                <a:gridCol w="536786">
                  <a:extLst>
                    <a:ext uri="{9D8B030D-6E8A-4147-A177-3AD203B41FA5}">
                      <a16:colId xmlns:a16="http://schemas.microsoft.com/office/drawing/2014/main" val="170271243"/>
                    </a:ext>
                  </a:extLst>
                </a:gridCol>
                <a:gridCol w="536786">
                  <a:extLst>
                    <a:ext uri="{9D8B030D-6E8A-4147-A177-3AD203B41FA5}">
                      <a16:colId xmlns:a16="http://schemas.microsoft.com/office/drawing/2014/main" val="2204249940"/>
                    </a:ext>
                  </a:extLst>
                </a:gridCol>
                <a:gridCol w="536786">
                  <a:extLst>
                    <a:ext uri="{9D8B030D-6E8A-4147-A177-3AD203B41FA5}">
                      <a16:colId xmlns:a16="http://schemas.microsoft.com/office/drawing/2014/main" val="2424300055"/>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6">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HOLIDAY GIFT P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GRAY HOLIDAY GIFT PACK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21672446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Personal Care | Walmart | Disposabl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939376">
                  <a:extLst>
                    <a:ext uri="{9D8B030D-6E8A-4147-A177-3AD203B41FA5}">
                      <a16:colId xmlns:a16="http://schemas.microsoft.com/office/drawing/2014/main" val="1249427694"/>
                    </a:ext>
                  </a:extLst>
                </a:gridCol>
                <a:gridCol w="939376">
                  <a:extLst>
                    <a:ext uri="{9D8B030D-6E8A-4147-A177-3AD203B41FA5}">
                      <a16:colId xmlns:a16="http://schemas.microsoft.com/office/drawing/2014/main" val="2218987241"/>
                    </a:ext>
                  </a:extLst>
                </a:gridCol>
                <a:gridCol w="939376">
                  <a:extLst>
                    <a:ext uri="{9D8B030D-6E8A-4147-A177-3AD203B41FA5}">
                      <a16:colId xmlns:a16="http://schemas.microsoft.com/office/drawing/2014/main" val="3054438620"/>
                    </a:ext>
                  </a:extLst>
                </a:gridCol>
                <a:gridCol w="939376">
                  <a:extLst>
                    <a:ext uri="{9D8B030D-6E8A-4147-A177-3AD203B41FA5}">
                      <a16:colId xmlns:a16="http://schemas.microsoft.com/office/drawing/2014/main" val="3260695282"/>
                    </a:ext>
                  </a:extLst>
                </a:gridCol>
                <a:gridCol w="939376">
                  <a:extLst>
                    <a:ext uri="{9D8B030D-6E8A-4147-A177-3AD203B41FA5}">
                      <a16:colId xmlns:a16="http://schemas.microsoft.com/office/drawing/2014/main" val="2013999109"/>
                    </a:ext>
                  </a:extLst>
                </a:gridCol>
                <a:gridCol w="939376">
                  <a:extLst>
                    <a:ext uri="{9D8B030D-6E8A-4147-A177-3AD203B41FA5}">
                      <a16:colId xmlns:a16="http://schemas.microsoft.com/office/drawing/2014/main" val="444465486"/>
                    </a:ext>
                  </a:extLst>
                </a:gridCol>
                <a:gridCol w="939376">
                  <a:extLst>
                    <a:ext uri="{9D8B030D-6E8A-4147-A177-3AD203B41FA5}">
                      <a16:colId xmlns:a16="http://schemas.microsoft.com/office/drawing/2014/main" val="1559592490"/>
                    </a:ext>
                  </a:extLst>
                </a:gridCol>
                <a:gridCol w="939376">
                  <a:extLst>
                    <a:ext uri="{9D8B030D-6E8A-4147-A177-3AD203B41FA5}">
                      <a16:colId xmlns:a16="http://schemas.microsoft.com/office/drawing/2014/main" val="273595443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HOLIDAY GIFT P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49106180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Personal Care Vs. Competition | NATIONAL | Manual Shave M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NGLE SENSITIVE 1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99667371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Personal Care Vs. Competition | Bj's And Sam's | Manual Shave M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065448">
                  <a:extLst>
                    <a:ext uri="{9D8B030D-6E8A-4147-A177-3AD203B41FA5}">
                      <a16:colId xmlns:a16="http://schemas.microsoft.com/office/drawing/2014/main" val="1249427694"/>
                    </a:ext>
                  </a:extLst>
                </a:gridCol>
                <a:gridCol w="1065448">
                  <a:extLst>
                    <a:ext uri="{9D8B030D-6E8A-4147-A177-3AD203B41FA5}">
                      <a16:colId xmlns:a16="http://schemas.microsoft.com/office/drawing/2014/main" val="2218987241"/>
                    </a:ext>
                  </a:extLst>
                </a:gridCol>
                <a:gridCol w="1065448">
                  <a:extLst>
                    <a:ext uri="{9D8B030D-6E8A-4147-A177-3AD203B41FA5}">
                      <a16:colId xmlns:a16="http://schemas.microsoft.com/office/drawing/2014/main" val="3054438620"/>
                    </a:ext>
                  </a:extLst>
                </a:gridCol>
                <a:gridCol w="1065448">
                  <a:extLst>
                    <a:ext uri="{9D8B030D-6E8A-4147-A177-3AD203B41FA5}">
                      <a16:colId xmlns:a16="http://schemas.microsoft.com/office/drawing/2014/main" val="310395072"/>
                    </a:ext>
                  </a:extLst>
                </a:gridCol>
                <a:gridCol w="1065448">
                  <a:extLst>
                    <a:ext uri="{9D8B030D-6E8A-4147-A177-3AD203B41FA5}">
                      <a16:colId xmlns:a16="http://schemas.microsoft.com/office/drawing/2014/main" val="3260695282"/>
                    </a:ext>
                  </a:extLst>
                </a:gridCol>
                <a:gridCol w="1065448">
                  <a:extLst>
                    <a:ext uri="{9D8B030D-6E8A-4147-A177-3AD203B41FA5}">
                      <a16:colId xmlns:a16="http://schemas.microsoft.com/office/drawing/2014/main" val="1819053712"/>
                    </a:ext>
                  </a:extLst>
                </a:gridCol>
                <a:gridCol w="1065448">
                  <a:extLst>
                    <a:ext uri="{9D8B030D-6E8A-4147-A177-3AD203B41FA5}">
                      <a16:colId xmlns:a16="http://schemas.microsoft.com/office/drawing/2014/main" val="63964190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PLUS PIVOT 2 BLADE DISPOSABLE NORMAL 5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PROGLIDE 5 BLADE RAZOR NORMAL 1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9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052189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Personal Care Vs. Competition | Walmart | Manual Shave M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NGLE SENSITIVE 1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6973362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Personal Care Vs. Competition | NATIONAL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38714">
                  <a:extLst>
                    <a:ext uri="{9D8B030D-6E8A-4147-A177-3AD203B41FA5}">
                      <a16:colId xmlns:a16="http://schemas.microsoft.com/office/drawing/2014/main" val="1249427694"/>
                    </a:ext>
                  </a:extLst>
                </a:gridCol>
                <a:gridCol w="438714">
                  <a:extLst>
                    <a:ext uri="{9D8B030D-6E8A-4147-A177-3AD203B41FA5}">
                      <a16:colId xmlns:a16="http://schemas.microsoft.com/office/drawing/2014/main" val="2218987241"/>
                    </a:ext>
                  </a:extLst>
                </a:gridCol>
                <a:gridCol w="438714">
                  <a:extLst>
                    <a:ext uri="{9D8B030D-6E8A-4147-A177-3AD203B41FA5}">
                      <a16:colId xmlns:a16="http://schemas.microsoft.com/office/drawing/2014/main" val="3054438620"/>
                    </a:ext>
                  </a:extLst>
                </a:gridCol>
                <a:gridCol w="438714">
                  <a:extLst>
                    <a:ext uri="{9D8B030D-6E8A-4147-A177-3AD203B41FA5}">
                      <a16:colId xmlns:a16="http://schemas.microsoft.com/office/drawing/2014/main" val="310395072"/>
                    </a:ext>
                  </a:extLst>
                </a:gridCol>
                <a:gridCol w="438714">
                  <a:extLst>
                    <a:ext uri="{9D8B030D-6E8A-4147-A177-3AD203B41FA5}">
                      <a16:colId xmlns:a16="http://schemas.microsoft.com/office/drawing/2014/main" val="3260695282"/>
                    </a:ext>
                  </a:extLst>
                </a:gridCol>
                <a:gridCol w="438714">
                  <a:extLst>
                    <a:ext uri="{9D8B030D-6E8A-4147-A177-3AD203B41FA5}">
                      <a16:colId xmlns:a16="http://schemas.microsoft.com/office/drawing/2014/main" val="1819053712"/>
                    </a:ext>
                  </a:extLst>
                </a:gridCol>
                <a:gridCol w="438714">
                  <a:extLst>
                    <a:ext uri="{9D8B030D-6E8A-4147-A177-3AD203B41FA5}">
                      <a16:colId xmlns:a16="http://schemas.microsoft.com/office/drawing/2014/main" val="639641908"/>
                    </a:ext>
                  </a:extLst>
                </a:gridCol>
                <a:gridCol w="438714">
                  <a:extLst>
                    <a:ext uri="{9D8B030D-6E8A-4147-A177-3AD203B41FA5}">
                      <a16:colId xmlns:a16="http://schemas.microsoft.com/office/drawing/2014/main" val="3972879755"/>
                    </a:ext>
                  </a:extLst>
                </a:gridCol>
                <a:gridCol w="438714">
                  <a:extLst>
                    <a:ext uri="{9D8B030D-6E8A-4147-A177-3AD203B41FA5}">
                      <a16:colId xmlns:a16="http://schemas.microsoft.com/office/drawing/2014/main" val="3537530948"/>
                    </a:ext>
                  </a:extLst>
                </a:gridCol>
                <a:gridCol w="438714">
                  <a:extLst>
                    <a:ext uri="{9D8B030D-6E8A-4147-A177-3AD203B41FA5}">
                      <a16:colId xmlns:a16="http://schemas.microsoft.com/office/drawing/2014/main" val="3746584589"/>
                    </a:ext>
                  </a:extLst>
                </a:gridCol>
                <a:gridCol w="438714">
                  <a:extLst>
                    <a:ext uri="{9D8B030D-6E8A-4147-A177-3AD203B41FA5}">
                      <a16:colId xmlns:a16="http://schemas.microsoft.com/office/drawing/2014/main" val="2480078238"/>
                    </a:ext>
                  </a:extLst>
                </a:gridCol>
                <a:gridCol w="438714">
                  <a:extLst>
                    <a:ext uri="{9D8B030D-6E8A-4147-A177-3AD203B41FA5}">
                      <a16:colId xmlns:a16="http://schemas.microsoft.com/office/drawing/2014/main" val="461482366"/>
                    </a:ext>
                  </a:extLst>
                </a:gridCol>
                <a:gridCol w="438714">
                  <a:extLst>
                    <a:ext uri="{9D8B030D-6E8A-4147-A177-3AD203B41FA5}">
                      <a16:colId xmlns:a16="http://schemas.microsoft.com/office/drawing/2014/main" val="3000128965"/>
                    </a:ext>
                  </a:extLst>
                </a:gridCol>
                <a:gridCol w="438714">
                  <a:extLst>
                    <a:ext uri="{9D8B030D-6E8A-4147-A177-3AD203B41FA5}">
                      <a16:colId xmlns:a16="http://schemas.microsoft.com/office/drawing/2014/main" val="2230636300"/>
                    </a:ext>
                  </a:extLst>
                </a:gridCol>
                <a:gridCol w="438714">
                  <a:extLst>
                    <a:ext uri="{9D8B030D-6E8A-4147-A177-3AD203B41FA5}">
                      <a16:colId xmlns:a16="http://schemas.microsoft.com/office/drawing/2014/main" val="1384103314"/>
                    </a:ext>
                  </a:extLst>
                </a:gridCol>
                <a:gridCol w="438714">
                  <a:extLst>
                    <a:ext uri="{9D8B030D-6E8A-4147-A177-3AD203B41FA5}">
                      <a16:colId xmlns:a16="http://schemas.microsoft.com/office/drawing/2014/main" val="133870796"/>
                    </a:ext>
                  </a:extLst>
                </a:gridCol>
                <a:gridCol w="438714">
                  <a:extLst>
                    <a:ext uri="{9D8B030D-6E8A-4147-A177-3AD203B41FA5}">
                      <a16:colId xmlns:a16="http://schemas.microsoft.com/office/drawing/2014/main" val="113389051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erio Prods In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erio Prods In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EFILL DRY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ARBASOL ULTRA 6 PLUS GRAY 6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ARBASOL ULTRA 6 PLUS 6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1258257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Personal Care Vs. Competition | Walmart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1"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92533">
                  <a:extLst>
                    <a:ext uri="{9D8B030D-6E8A-4147-A177-3AD203B41FA5}">
                      <a16:colId xmlns:a16="http://schemas.microsoft.com/office/drawing/2014/main" val="1249427694"/>
                    </a:ext>
                  </a:extLst>
                </a:gridCol>
                <a:gridCol w="392533">
                  <a:extLst>
                    <a:ext uri="{9D8B030D-6E8A-4147-A177-3AD203B41FA5}">
                      <a16:colId xmlns:a16="http://schemas.microsoft.com/office/drawing/2014/main" val="2218987241"/>
                    </a:ext>
                  </a:extLst>
                </a:gridCol>
                <a:gridCol w="392533">
                  <a:extLst>
                    <a:ext uri="{9D8B030D-6E8A-4147-A177-3AD203B41FA5}">
                      <a16:colId xmlns:a16="http://schemas.microsoft.com/office/drawing/2014/main" val="3054438620"/>
                    </a:ext>
                  </a:extLst>
                </a:gridCol>
                <a:gridCol w="392533">
                  <a:extLst>
                    <a:ext uri="{9D8B030D-6E8A-4147-A177-3AD203B41FA5}">
                      <a16:colId xmlns:a16="http://schemas.microsoft.com/office/drawing/2014/main" val="310395072"/>
                    </a:ext>
                  </a:extLst>
                </a:gridCol>
                <a:gridCol w="392533">
                  <a:extLst>
                    <a:ext uri="{9D8B030D-6E8A-4147-A177-3AD203B41FA5}">
                      <a16:colId xmlns:a16="http://schemas.microsoft.com/office/drawing/2014/main" val="3260695282"/>
                    </a:ext>
                  </a:extLst>
                </a:gridCol>
                <a:gridCol w="392533">
                  <a:extLst>
                    <a:ext uri="{9D8B030D-6E8A-4147-A177-3AD203B41FA5}">
                      <a16:colId xmlns:a16="http://schemas.microsoft.com/office/drawing/2014/main" val="1819053712"/>
                    </a:ext>
                  </a:extLst>
                </a:gridCol>
                <a:gridCol w="392533">
                  <a:extLst>
                    <a:ext uri="{9D8B030D-6E8A-4147-A177-3AD203B41FA5}">
                      <a16:colId xmlns:a16="http://schemas.microsoft.com/office/drawing/2014/main" val="639641908"/>
                    </a:ext>
                  </a:extLst>
                </a:gridCol>
                <a:gridCol w="392533">
                  <a:extLst>
                    <a:ext uri="{9D8B030D-6E8A-4147-A177-3AD203B41FA5}">
                      <a16:colId xmlns:a16="http://schemas.microsoft.com/office/drawing/2014/main" val="3972879755"/>
                    </a:ext>
                  </a:extLst>
                </a:gridCol>
                <a:gridCol w="392533">
                  <a:extLst>
                    <a:ext uri="{9D8B030D-6E8A-4147-A177-3AD203B41FA5}">
                      <a16:colId xmlns:a16="http://schemas.microsoft.com/office/drawing/2014/main" val="3537530948"/>
                    </a:ext>
                  </a:extLst>
                </a:gridCol>
                <a:gridCol w="392533">
                  <a:extLst>
                    <a:ext uri="{9D8B030D-6E8A-4147-A177-3AD203B41FA5}">
                      <a16:colId xmlns:a16="http://schemas.microsoft.com/office/drawing/2014/main" val="3746584589"/>
                    </a:ext>
                  </a:extLst>
                </a:gridCol>
                <a:gridCol w="392533">
                  <a:extLst>
                    <a:ext uri="{9D8B030D-6E8A-4147-A177-3AD203B41FA5}">
                      <a16:colId xmlns:a16="http://schemas.microsoft.com/office/drawing/2014/main" val="2480078238"/>
                    </a:ext>
                  </a:extLst>
                </a:gridCol>
                <a:gridCol w="392533">
                  <a:extLst>
                    <a:ext uri="{9D8B030D-6E8A-4147-A177-3AD203B41FA5}">
                      <a16:colId xmlns:a16="http://schemas.microsoft.com/office/drawing/2014/main" val="461482366"/>
                    </a:ext>
                  </a:extLst>
                </a:gridCol>
                <a:gridCol w="392533">
                  <a:extLst>
                    <a:ext uri="{9D8B030D-6E8A-4147-A177-3AD203B41FA5}">
                      <a16:colId xmlns:a16="http://schemas.microsoft.com/office/drawing/2014/main" val="3000128965"/>
                    </a:ext>
                  </a:extLst>
                </a:gridCol>
                <a:gridCol w="392533">
                  <a:extLst>
                    <a:ext uri="{9D8B030D-6E8A-4147-A177-3AD203B41FA5}">
                      <a16:colId xmlns:a16="http://schemas.microsoft.com/office/drawing/2014/main" val="2230636300"/>
                    </a:ext>
                  </a:extLst>
                </a:gridCol>
                <a:gridCol w="392533">
                  <a:extLst>
                    <a:ext uri="{9D8B030D-6E8A-4147-A177-3AD203B41FA5}">
                      <a16:colId xmlns:a16="http://schemas.microsoft.com/office/drawing/2014/main" val="1384103314"/>
                    </a:ext>
                  </a:extLst>
                </a:gridCol>
                <a:gridCol w="392533">
                  <a:extLst>
                    <a:ext uri="{9D8B030D-6E8A-4147-A177-3AD203B41FA5}">
                      <a16:colId xmlns:a16="http://schemas.microsoft.com/office/drawing/2014/main" val="133870796"/>
                    </a:ext>
                  </a:extLst>
                </a:gridCol>
                <a:gridCol w="392533">
                  <a:extLst>
                    <a:ext uri="{9D8B030D-6E8A-4147-A177-3AD203B41FA5}">
                      <a16:colId xmlns:a16="http://schemas.microsoft.com/office/drawing/2014/main" val="1133890510"/>
                    </a:ext>
                  </a:extLst>
                </a:gridCol>
                <a:gridCol w="392533">
                  <a:extLst>
                    <a:ext uri="{9D8B030D-6E8A-4147-A177-3AD203B41FA5}">
                      <a16:colId xmlns:a16="http://schemas.microsoft.com/office/drawing/2014/main" val="750543690"/>
                    </a:ext>
                  </a:extLst>
                </a:gridCol>
                <a:gridCol w="392533">
                  <a:extLst>
                    <a:ext uri="{9D8B030D-6E8A-4147-A177-3AD203B41FA5}">
                      <a16:colId xmlns:a16="http://schemas.microsoft.com/office/drawing/2014/main" val="3955953197"/>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Unilev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Unilev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Unilev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Unilev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6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BLACK 6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6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RED BLUE WHITE 6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559388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Personal Care Vs. Competition | NATIONAL | Disposabl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NGLE SENSITIVE 1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3 3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ENSITIVE 3 3 BLADE DISPOSABLE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MULTI COLOR 3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FIXED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PLUS PIVOT 2 BLADE DISPOSABLE NORMAL 1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3 SENSITIVE GREEN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PLUS PIVOT 2 BLADE DISPOSABLE NORMAL 5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59950973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Personal Care Vs. Competition | Bj's And Sam's | Disposabl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491628">
                  <a:extLst>
                    <a:ext uri="{9D8B030D-6E8A-4147-A177-3AD203B41FA5}">
                      <a16:colId xmlns:a16="http://schemas.microsoft.com/office/drawing/2014/main" val="1249427694"/>
                    </a:ext>
                  </a:extLst>
                </a:gridCol>
                <a:gridCol w="1491628">
                  <a:extLst>
                    <a:ext uri="{9D8B030D-6E8A-4147-A177-3AD203B41FA5}">
                      <a16:colId xmlns:a16="http://schemas.microsoft.com/office/drawing/2014/main" val="2218987241"/>
                    </a:ext>
                  </a:extLst>
                </a:gridCol>
                <a:gridCol w="1491628">
                  <a:extLst>
                    <a:ext uri="{9D8B030D-6E8A-4147-A177-3AD203B41FA5}">
                      <a16:colId xmlns:a16="http://schemas.microsoft.com/office/drawing/2014/main" val="3054438620"/>
                    </a:ext>
                  </a:extLst>
                </a:gridCol>
                <a:gridCol w="1491628">
                  <a:extLst>
                    <a:ext uri="{9D8B030D-6E8A-4147-A177-3AD203B41FA5}">
                      <a16:colId xmlns:a16="http://schemas.microsoft.com/office/drawing/2014/main" val="310395072"/>
                    </a:ext>
                  </a:extLst>
                </a:gridCol>
                <a:gridCol w="1491628">
                  <a:extLst>
                    <a:ext uri="{9D8B030D-6E8A-4147-A177-3AD203B41FA5}">
                      <a16:colId xmlns:a16="http://schemas.microsoft.com/office/drawing/2014/main" val="326069528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PLUS PIVOT 2 BLADE DISPOSABLE NORMAL 5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3 SENSITIVE BLUE GREEN 3 BLADE DISPOSABLE SENSITIVE 2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9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6191033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Personal Care Vs. Competition | Walmart | Disposabl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NGLE SENSITIVE 1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5 BLADE DISPOSABLE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COMFORT 3 MULTI COLOR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CALIBER 5 5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TB (TWIN BLADE) BLU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SPEED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SPEED 3 SENSITIVE GREEN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CALIBER 3 3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FIXED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MULTI COLOR 3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PLUS PIVOT 2 BLADE DISPOSABLE NORMAL 1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FIXED 2 BLADE DISPOSABLE NORMAL 1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3 SENSITIVE GREEN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08403375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Personal Care Vs. Competition | NATIONAL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erio Prods In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AZOR DRY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1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AZOR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NAVY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ARBASOL ULTRA 6 PLUS GRAY 6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35845551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Cremo | Walmart | Manual Shave M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757505">
                  <a:extLst>
                    <a:ext uri="{9D8B030D-6E8A-4147-A177-3AD203B41FA5}">
                      <a16:colId xmlns:a16="http://schemas.microsoft.com/office/drawing/2014/main" val="1249427694"/>
                    </a:ext>
                  </a:extLst>
                </a:gridCol>
                <a:gridCol w="3757505">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91778968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Personal Care Vs. Competition | Walmart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Unilev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Unilev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GRAY HOLIDAY GIFT PACK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CRAFT HANDLE SILVER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BLACK 6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RED BLUE WHITE 6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7280228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Personal Care Vs. Competition | NATIONAL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erio Prods In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EFILL DRY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STUBBLE ERASER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ARBASOL ULTRA 6 PLUS 6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35672568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Personal Care Vs. Competition | Walmart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Unilev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Unilev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6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6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61799311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chick Vs. Competition | NATIONAL | Manual Shave M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NGLE SENSITIVE 1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16005361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quate Vs. Competition | NATIONAL | Manual Shave M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CALIBER 5 5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TB (TWIN BLADE) BLU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SPEED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NGLE SENSITIVE 1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76040976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Cremo Vs. Competition | NATIONAL | Manual Shave M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1"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92533">
                  <a:extLst>
                    <a:ext uri="{9D8B030D-6E8A-4147-A177-3AD203B41FA5}">
                      <a16:colId xmlns:a16="http://schemas.microsoft.com/office/drawing/2014/main" val="1249427694"/>
                    </a:ext>
                  </a:extLst>
                </a:gridCol>
                <a:gridCol w="392533">
                  <a:extLst>
                    <a:ext uri="{9D8B030D-6E8A-4147-A177-3AD203B41FA5}">
                      <a16:colId xmlns:a16="http://schemas.microsoft.com/office/drawing/2014/main" val="2218987241"/>
                    </a:ext>
                  </a:extLst>
                </a:gridCol>
                <a:gridCol w="392533">
                  <a:extLst>
                    <a:ext uri="{9D8B030D-6E8A-4147-A177-3AD203B41FA5}">
                      <a16:colId xmlns:a16="http://schemas.microsoft.com/office/drawing/2014/main" val="3054438620"/>
                    </a:ext>
                  </a:extLst>
                </a:gridCol>
                <a:gridCol w="392533">
                  <a:extLst>
                    <a:ext uri="{9D8B030D-6E8A-4147-A177-3AD203B41FA5}">
                      <a16:colId xmlns:a16="http://schemas.microsoft.com/office/drawing/2014/main" val="310395072"/>
                    </a:ext>
                  </a:extLst>
                </a:gridCol>
                <a:gridCol w="392533">
                  <a:extLst>
                    <a:ext uri="{9D8B030D-6E8A-4147-A177-3AD203B41FA5}">
                      <a16:colId xmlns:a16="http://schemas.microsoft.com/office/drawing/2014/main" val="3260695282"/>
                    </a:ext>
                  </a:extLst>
                </a:gridCol>
                <a:gridCol w="392533">
                  <a:extLst>
                    <a:ext uri="{9D8B030D-6E8A-4147-A177-3AD203B41FA5}">
                      <a16:colId xmlns:a16="http://schemas.microsoft.com/office/drawing/2014/main" val="1819053712"/>
                    </a:ext>
                  </a:extLst>
                </a:gridCol>
                <a:gridCol w="392533">
                  <a:extLst>
                    <a:ext uri="{9D8B030D-6E8A-4147-A177-3AD203B41FA5}">
                      <a16:colId xmlns:a16="http://schemas.microsoft.com/office/drawing/2014/main" val="639641908"/>
                    </a:ext>
                  </a:extLst>
                </a:gridCol>
                <a:gridCol w="392533">
                  <a:extLst>
                    <a:ext uri="{9D8B030D-6E8A-4147-A177-3AD203B41FA5}">
                      <a16:colId xmlns:a16="http://schemas.microsoft.com/office/drawing/2014/main" val="3972879755"/>
                    </a:ext>
                  </a:extLst>
                </a:gridCol>
                <a:gridCol w="392533">
                  <a:extLst>
                    <a:ext uri="{9D8B030D-6E8A-4147-A177-3AD203B41FA5}">
                      <a16:colId xmlns:a16="http://schemas.microsoft.com/office/drawing/2014/main" val="3537530948"/>
                    </a:ext>
                  </a:extLst>
                </a:gridCol>
                <a:gridCol w="392533">
                  <a:extLst>
                    <a:ext uri="{9D8B030D-6E8A-4147-A177-3AD203B41FA5}">
                      <a16:colId xmlns:a16="http://schemas.microsoft.com/office/drawing/2014/main" val="3746584589"/>
                    </a:ext>
                  </a:extLst>
                </a:gridCol>
                <a:gridCol w="392533">
                  <a:extLst>
                    <a:ext uri="{9D8B030D-6E8A-4147-A177-3AD203B41FA5}">
                      <a16:colId xmlns:a16="http://schemas.microsoft.com/office/drawing/2014/main" val="2480078238"/>
                    </a:ext>
                  </a:extLst>
                </a:gridCol>
                <a:gridCol w="392533">
                  <a:extLst>
                    <a:ext uri="{9D8B030D-6E8A-4147-A177-3AD203B41FA5}">
                      <a16:colId xmlns:a16="http://schemas.microsoft.com/office/drawing/2014/main" val="461482366"/>
                    </a:ext>
                  </a:extLst>
                </a:gridCol>
                <a:gridCol w="392533">
                  <a:extLst>
                    <a:ext uri="{9D8B030D-6E8A-4147-A177-3AD203B41FA5}">
                      <a16:colId xmlns:a16="http://schemas.microsoft.com/office/drawing/2014/main" val="3000128965"/>
                    </a:ext>
                  </a:extLst>
                </a:gridCol>
                <a:gridCol w="392533">
                  <a:extLst>
                    <a:ext uri="{9D8B030D-6E8A-4147-A177-3AD203B41FA5}">
                      <a16:colId xmlns:a16="http://schemas.microsoft.com/office/drawing/2014/main" val="2230636300"/>
                    </a:ext>
                  </a:extLst>
                </a:gridCol>
                <a:gridCol w="392533">
                  <a:extLst>
                    <a:ext uri="{9D8B030D-6E8A-4147-A177-3AD203B41FA5}">
                      <a16:colId xmlns:a16="http://schemas.microsoft.com/office/drawing/2014/main" val="1384103314"/>
                    </a:ext>
                  </a:extLst>
                </a:gridCol>
                <a:gridCol w="392533">
                  <a:extLst>
                    <a:ext uri="{9D8B030D-6E8A-4147-A177-3AD203B41FA5}">
                      <a16:colId xmlns:a16="http://schemas.microsoft.com/office/drawing/2014/main" val="133870796"/>
                    </a:ext>
                  </a:extLst>
                </a:gridCol>
                <a:gridCol w="392533">
                  <a:extLst>
                    <a:ext uri="{9D8B030D-6E8A-4147-A177-3AD203B41FA5}">
                      <a16:colId xmlns:a16="http://schemas.microsoft.com/office/drawing/2014/main" val="1133890510"/>
                    </a:ext>
                  </a:extLst>
                </a:gridCol>
                <a:gridCol w="392533">
                  <a:extLst>
                    <a:ext uri="{9D8B030D-6E8A-4147-A177-3AD203B41FA5}">
                      <a16:colId xmlns:a16="http://schemas.microsoft.com/office/drawing/2014/main" val="750543690"/>
                    </a:ext>
                  </a:extLst>
                </a:gridCol>
                <a:gridCol w="392533">
                  <a:extLst>
                    <a:ext uri="{9D8B030D-6E8A-4147-A177-3AD203B41FA5}">
                      <a16:colId xmlns:a16="http://schemas.microsoft.com/office/drawing/2014/main" val="3955953197"/>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SILVER HOLIDAY GIFT PACK REM BLADES RAZOR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SILVER HOLIDAY GIFT PACK 5 BLADE RAZOR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NGLE SENSITIVE 1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99849209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chick Vs. Competition | Bj's And Sam's | Manual Shave M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065448">
                  <a:extLst>
                    <a:ext uri="{9D8B030D-6E8A-4147-A177-3AD203B41FA5}">
                      <a16:colId xmlns:a16="http://schemas.microsoft.com/office/drawing/2014/main" val="1249427694"/>
                    </a:ext>
                  </a:extLst>
                </a:gridCol>
                <a:gridCol w="1065448">
                  <a:extLst>
                    <a:ext uri="{9D8B030D-6E8A-4147-A177-3AD203B41FA5}">
                      <a16:colId xmlns:a16="http://schemas.microsoft.com/office/drawing/2014/main" val="2218987241"/>
                    </a:ext>
                  </a:extLst>
                </a:gridCol>
                <a:gridCol w="1065448">
                  <a:extLst>
                    <a:ext uri="{9D8B030D-6E8A-4147-A177-3AD203B41FA5}">
                      <a16:colId xmlns:a16="http://schemas.microsoft.com/office/drawing/2014/main" val="3054438620"/>
                    </a:ext>
                  </a:extLst>
                </a:gridCol>
                <a:gridCol w="1065448">
                  <a:extLst>
                    <a:ext uri="{9D8B030D-6E8A-4147-A177-3AD203B41FA5}">
                      <a16:colId xmlns:a16="http://schemas.microsoft.com/office/drawing/2014/main" val="310395072"/>
                    </a:ext>
                  </a:extLst>
                </a:gridCol>
                <a:gridCol w="1065448">
                  <a:extLst>
                    <a:ext uri="{9D8B030D-6E8A-4147-A177-3AD203B41FA5}">
                      <a16:colId xmlns:a16="http://schemas.microsoft.com/office/drawing/2014/main" val="3260695282"/>
                    </a:ext>
                  </a:extLst>
                </a:gridCol>
                <a:gridCol w="1065448">
                  <a:extLst>
                    <a:ext uri="{9D8B030D-6E8A-4147-A177-3AD203B41FA5}">
                      <a16:colId xmlns:a16="http://schemas.microsoft.com/office/drawing/2014/main" val="1819053712"/>
                    </a:ext>
                  </a:extLst>
                </a:gridCol>
                <a:gridCol w="1065448">
                  <a:extLst>
                    <a:ext uri="{9D8B030D-6E8A-4147-A177-3AD203B41FA5}">
                      <a16:colId xmlns:a16="http://schemas.microsoft.com/office/drawing/2014/main" val="63964190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PLUS PIVOT 2 BLADE DISPOSABLE NORMAL 5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PROGLIDE 5 BLADE RAZOR NORMAL 1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9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69362599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chick Vs. Competition | Walmart | Manual Shave M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NGLE SENSITIVE 1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22504956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quate Vs. Competition | Walmart | Manual Shave M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CALIBER 5 5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TB (TWIN BLADE) BLU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SPEED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NGLE SENSITIVE 1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6133031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Cremo Vs. Competition | Walmart | Manual Shave M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38714">
                  <a:extLst>
                    <a:ext uri="{9D8B030D-6E8A-4147-A177-3AD203B41FA5}">
                      <a16:colId xmlns:a16="http://schemas.microsoft.com/office/drawing/2014/main" val="1249427694"/>
                    </a:ext>
                  </a:extLst>
                </a:gridCol>
                <a:gridCol w="438714">
                  <a:extLst>
                    <a:ext uri="{9D8B030D-6E8A-4147-A177-3AD203B41FA5}">
                      <a16:colId xmlns:a16="http://schemas.microsoft.com/office/drawing/2014/main" val="2218987241"/>
                    </a:ext>
                  </a:extLst>
                </a:gridCol>
                <a:gridCol w="438714">
                  <a:extLst>
                    <a:ext uri="{9D8B030D-6E8A-4147-A177-3AD203B41FA5}">
                      <a16:colId xmlns:a16="http://schemas.microsoft.com/office/drawing/2014/main" val="3054438620"/>
                    </a:ext>
                  </a:extLst>
                </a:gridCol>
                <a:gridCol w="438714">
                  <a:extLst>
                    <a:ext uri="{9D8B030D-6E8A-4147-A177-3AD203B41FA5}">
                      <a16:colId xmlns:a16="http://schemas.microsoft.com/office/drawing/2014/main" val="310395072"/>
                    </a:ext>
                  </a:extLst>
                </a:gridCol>
                <a:gridCol w="438714">
                  <a:extLst>
                    <a:ext uri="{9D8B030D-6E8A-4147-A177-3AD203B41FA5}">
                      <a16:colId xmlns:a16="http://schemas.microsoft.com/office/drawing/2014/main" val="3260695282"/>
                    </a:ext>
                  </a:extLst>
                </a:gridCol>
                <a:gridCol w="438714">
                  <a:extLst>
                    <a:ext uri="{9D8B030D-6E8A-4147-A177-3AD203B41FA5}">
                      <a16:colId xmlns:a16="http://schemas.microsoft.com/office/drawing/2014/main" val="1819053712"/>
                    </a:ext>
                  </a:extLst>
                </a:gridCol>
                <a:gridCol w="438714">
                  <a:extLst>
                    <a:ext uri="{9D8B030D-6E8A-4147-A177-3AD203B41FA5}">
                      <a16:colId xmlns:a16="http://schemas.microsoft.com/office/drawing/2014/main" val="639641908"/>
                    </a:ext>
                  </a:extLst>
                </a:gridCol>
                <a:gridCol w="438714">
                  <a:extLst>
                    <a:ext uri="{9D8B030D-6E8A-4147-A177-3AD203B41FA5}">
                      <a16:colId xmlns:a16="http://schemas.microsoft.com/office/drawing/2014/main" val="3972879755"/>
                    </a:ext>
                  </a:extLst>
                </a:gridCol>
                <a:gridCol w="438714">
                  <a:extLst>
                    <a:ext uri="{9D8B030D-6E8A-4147-A177-3AD203B41FA5}">
                      <a16:colId xmlns:a16="http://schemas.microsoft.com/office/drawing/2014/main" val="3537530948"/>
                    </a:ext>
                  </a:extLst>
                </a:gridCol>
                <a:gridCol w="438714">
                  <a:extLst>
                    <a:ext uri="{9D8B030D-6E8A-4147-A177-3AD203B41FA5}">
                      <a16:colId xmlns:a16="http://schemas.microsoft.com/office/drawing/2014/main" val="3746584589"/>
                    </a:ext>
                  </a:extLst>
                </a:gridCol>
                <a:gridCol w="438714">
                  <a:extLst>
                    <a:ext uri="{9D8B030D-6E8A-4147-A177-3AD203B41FA5}">
                      <a16:colId xmlns:a16="http://schemas.microsoft.com/office/drawing/2014/main" val="2480078238"/>
                    </a:ext>
                  </a:extLst>
                </a:gridCol>
                <a:gridCol w="438714">
                  <a:extLst>
                    <a:ext uri="{9D8B030D-6E8A-4147-A177-3AD203B41FA5}">
                      <a16:colId xmlns:a16="http://schemas.microsoft.com/office/drawing/2014/main" val="461482366"/>
                    </a:ext>
                  </a:extLst>
                </a:gridCol>
                <a:gridCol w="438714">
                  <a:extLst>
                    <a:ext uri="{9D8B030D-6E8A-4147-A177-3AD203B41FA5}">
                      <a16:colId xmlns:a16="http://schemas.microsoft.com/office/drawing/2014/main" val="3000128965"/>
                    </a:ext>
                  </a:extLst>
                </a:gridCol>
                <a:gridCol w="438714">
                  <a:extLst>
                    <a:ext uri="{9D8B030D-6E8A-4147-A177-3AD203B41FA5}">
                      <a16:colId xmlns:a16="http://schemas.microsoft.com/office/drawing/2014/main" val="2230636300"/>
                    </a:ext>
                  </a:extLst>
                </a:gridCol>
                <a:gridCol w="438714">
                  <a:extLst>
                    <a:ext uri="{9D8B030D-6E8A-4147-A177-3AD203B41FA5}">
                      <a16:colId xmlns:a16="http://schemas.microsoft.com/office/drawing/2014/main" val="1384103314"/>
                    </a:ext>
                  </a:extLst>
                </a:gridCol>
                <a:gridCol w="438714">
                  <a:extLst>
                    <a:ext uri="{9D8B030D-6E8A-4147-A177-3AD203B41FA5}">
                      <a16:colId xmlns:a16="http://schemas.microsoft.com/office/drawing/2014/main" val="133870796"/>
                    </a:ext>
                  </a:extLst>
                </a:gridCol>
                <a:gridCol w="438714">
                  <a:extLst>
                    <a:ext uri="{9D8B030D-6E8A-4147-A177-3AD203B41FA5}">
                      <a16:colId xmlns:a16="http://schemas.microsoft.com/office/drawing/2014/main" val="113389051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NGLE SENSITIVE 1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877088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chick | NATIONAL | Manual Shave M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7">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8">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5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AZOR DRY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EFILL DRY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AZOR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GRAY HOLIDAY GIFT PACK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41917815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chick Vs. Competition | NATIONAL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Philips Norelco One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EFILL DRY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HILIPS NORELCO ONE BLADE 1 BLADE REFILL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49619211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quate Vs. Competition | NATIONAL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Philips Norelco One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HILIPS NORELCO ONE BLADE 1 BLADE REFILL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47774702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Cremo Vs. Competition | NATIONAL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Philips Norelco One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SILVER HOLIDAY GIFT PACK REM BLADES RAZOR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SILVER HOLIDAY GIFT PACK 5 BLADE RAZOR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HILIPS NORELCO ONE BLADE 1 BLADE REFILL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4157311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chick Vs. Competition | Walmart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GRAY HOLIDAY GIFT PACK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61530157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quate Vs. Competition | Walmart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4359780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Cremo Vs. Competition | Walmart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21511">
                  <a:extLst>
                    <a:ext uri="{9D8B030D-6E8A-4147-A177-3AD203B41FA5}">
                      <a16:colId xmlns:a16="http://schemas.microsoft.com/office/drawing/2014/main" val="1249427694"/>
                    </a:ext>
                  </a:extLst>
                </a:gridCol>
                <a:gridCol w="621511">
                  <a:extLst>
                    <a:ext uri="{9D8B030D-6E8A-4147-A177-3AD203B41FA5}">
                      <a16:colId xmlns:a16="http://schemas.microsoft.com/office/drawing/2014/main" val="2218987241"/>
                    </a:ext>
                  </a:extLst>
                </a:gridCol>
                <a:gridCol w="621511">
                  <a:extLst>
                    <a:ext uri="{9D8B030D-6E8A-4147-A177-3AD203B41FA5}">
                      <a16:colId xmlns:a16="http://schemas.microsoft.com/office/drawing/2014/main" val="3054438620"/>
                    </a:ext>
                  </a:extLst>
                </a:gridCol>
                <a:gridCol w="621511">
                  <a:extLst>
                    <a:ext uri="{9D8B030D-6E8A-4147-A177-3AD203B41FA5}">
                      <a16:colId xmlns:a16="http://schemas.microsoft.com/office/drawing/2014/main" val="310395072"/>
                    </a:ext>
                  </a:extLst>
                </a:gridCol>
                <a:gridCol w="621511">
                  <a:extLst>
                    <a:ext uri="{9D8B030D-6E8A-4147-A177-3AD203B41FA5}">
                      <a16:colId xmlns:a16="http://schemas.microsoft.com/office/drawing/2014/main" val="3260695282"/>
                    </a:ext>
                  </a:extLst>
                </a:gridCol>
                <a:gridCol w="621511">
                  <a:extLst>
                    <a:ext uri="{9D8B030D-6E8A-4147-A177-3AD203B41FA5}">
                      <a16:colId xmlns:a16="http://schemas.microsoft.com/office/drawing/2014/main" val="1819053712"/>
                    </a:ext>
                  </a:extLst>
                </a:gridCol>
                <a:gridCol w="621511">
                  <a:extLst>
                    <a:ext uri="{9D8B030D-6E8A-4147-A177-3AD203B41FA5}">
                      <a16:colId xmlns:a16="http://schemas.microsoft.com/office/drawing/2014/main" val="639641908"/>
                    </a:ext>
                  </a:extLst>
                </a:gridCol>
                <a:gridCol w="621511">
                  <a:extLst>
                    <a:ext uri="{9D8B030D-6E8A-4147-A177-3AD203B41FA5}">
                      <a16:colId xmlns:a16="http://schemas.microsoft.com/office/drawing/2014/main" val="3972879755"/>
                    </a:ext>
                  </a:extLst>
                </a:gridCol>
                <a:gridCol w="621511">
                  <a:extLst>
                    <a:ext uri="{9D8B030D-6E8A-4147-A177-3AD203B41FA5}">
                      <a16:colId xmlns:a16="http://schemas.microsoft.com/office/drawing/2014/main" val="3537530948"/>
                    </a:ext>
                  </a:extLst>
                </a:gridCol>
                <a:gridCol w="621511">
                  <a:extLst>
                    <a:ext uri="{9D8B030D-6E8A-4147-A177-3AD203B41FA5}">
                      <a16:colId xmlns:a16="http://schemas.microsoft.com/office/drawing/2014/main" val="3746584589"/>
                    </a:ext>
                  </a:extLst>
                </a:gridCol>
                <a:gridCol w="621511">
                  <a:extLst>
                    <a:ext uri="{9D8B030D-6E8A-4147-A177-3AD203B41FA5}">
                      <a16:colId xmlns:a16="http://schemas.microsoft.com/office/drawing/2014/main" val="2480078238"/>
                    </a:ext>
                  </a:extLst>
                </a:gridCol>
                <a:gridCol w="621511">
                  <a:extLst>
                    <a:ext uri="{9D8B030D-6E8A-4147-A177-3AD203B41FA5}">
                      <a16:colId xmlns:a16="http://schemas.microsoft.com/office/drawing/2014/main" val="46148236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1910568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chick Vs. Competition | NATIONAL | Disposabl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Lil Necessiti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NGLE SENSITIVE 1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3 3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ENSITIVE 3 3 BLADE DISPOSABLE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MULTI COLOR 3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FIXED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PLUS PIVOT 2 BLADE DISPOSABLE NORMAL 1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3 SENSITIVE GREEN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PLUS PIVOT 2 BLADE DISPOSABLE NORMAL 5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LIL NECESSITIES HOLIDAY GIFT PACK REM BLADES DISPOSABLE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9465157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quate Vs. Competition | NATIONAL | Disposabl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Lil Necessiti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CALIBER 5 5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TB (TWIN BLADE) BLU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SPEED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SPEED 3 SENSITIVE GREEN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CALIBER 3 3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NGLE SENSITIVE 1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3 3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ENSITIVE 3 3 BLADE DISPOSABLE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MULTI COLOR 3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FIXED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PLUS PIVOT 2 BLADE DISPOSABLE NORMAL 1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3 SENSITIVE GREEN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PLUS PIVOT 2 BLADE DISPOSABLE NORMAL 5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LIL NECESSITIES HOLIDAY GIFT PACK REM BLADES DISPOSABLE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369376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chick Vs. Competition | Bj's And Sam's | Disposabl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491628">
                  <a:extLst>
                    <a:ext uri="{9D8B030D-6E8A-4147-A177-3AD203B41FA5}">
                      <a16:colId xmlns:a16="http://schemas.microsoft.com/office/drawing/2014/main" val="1249427694"/>
                    </a:ext>
                  </a:extLst>
                </a:gridCol>
                <a:gridCol w="1491628">
                  <a:extLst>
                    <a:ext uri="{9D8B030D-6E8A-4147-A177-3AD203B41FA5}">
                      <a16:colId xmlns:a16="http://schemas.microsoft.com/office/drawing/2014/main" val="2218987241"/>
                    </a:ext>
                  </a:extLst>
                </a:gridCol>
                <a:gridCol w="1491628">
                  <a:extLst>
                    <a:ext uri="{9D8B030D-6E8A-4147-A177-3AD203B41FA5}">
                      <a16:colId xmlns:a16="http://schemas.microsoft.com/office/drawing/2014/main" val="3054438620"/>
                    </a:ext>
                  </a:extLst>
                </a:gridCol>
                <a:gridCol w="1491628">
                  <a:extLst>
                    <a:ext uri="{9D8B030D-6E8A-4147-A177-3AD203B41FA5}">
                      <a16:colId xmlns:a16="http://schemas.microsoft.com/office/drawing/2014/main" val="310395072"/>
                    </a:ext>
                  </a:extLst>
                </a:gridCol>
                <a:gridCol w="1491628">
                  <a:extLst>
                    <a:ext uri="{9D8B030D-6E8A-4147-A177-3AD203B41FA5}">
                      <a16:colId xmlns:a16="http://schemas.microsoft.com/office/drawing/2014/main" val="326069528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PLUS PIVOT 2 BLADE DISPOSABLE NORMAL 5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3 SENSITIVE BLUE GREEN 3 BLADE DISPOSABLE SENSITIVE 2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9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49470394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chick Vs. Competition | Walmart | Disposabl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NGLE SENSITIVE 1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5 BLADE DISPOSABLE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COMFORT 3 MULTI COLOR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FIXED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MULTI COLOR 3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PLUS PIVOT 2 BLADE DISPOSABLE NORMAL 1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FIXED 2 BLADE DISPOSABLE NORMAL 1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3 SENSITIVE GREEN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1969473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Cremo | NATIONAL | Manual Shave M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503002">
                  <a:extLst>
                    <a:ext uri="{9D8B030D-6E8A-4147-A177-3AD203B41FA5}">
                      <a16:colId xmlns:a16="http://schemas.microsoft.com/office/drawing/2014/main" val="1249427694"/>
                    </a:ext>
                  </a:extLst>
                </a:gridCol>
                <a:gridCol w="1503002">
                  <a:extLst>
                    <a:ext uri="{9D8B030D-6E8A-4147-A177-3AD203B41FA5}">
                      <a16:colId xmlns:a16="http://schemas.microsoft.com/office/drawing/2014/main" val="2218987241"/>
                    </a:ext>
                  </a:extLst>
                </a:gridCol>
                <a:gridCol w="1503002">
                  <a:extLst>
                    <a:ext uri="{9D8B030D-6E8A-4147-A177-3AD203B41FA5}">
                      <a16:colId xmlns:a16="http://schemas.microsoft.com/office/drawing/2014/main" val="3054438620"/>
                    </a:ext>
                  </a:extLst>
                </a:gridCol>
                <a:gridCol w="1503002">
                  <a:extLst>
                    <a:ext uri="{9D8B030D-6E8A-4147-A177-3AD203B41FA5}">
                      <a16:colId xmlns:a16="http://schemas.microsoft.com/office/drawing/2014/main" val="3260695282"/>
                    </a:ext>
                  </a:extLst>
                </a:gridCol>
                <a:gridCol w="1503002">
                  <a:extLst>
                    <a:ext uri="{9D8B030D-6E8A-4147-A177-3AD203B41FA5}">
                      <a16:colId xmlns:a16="http://schemas.microsoft.com/office/drawing/2014/main" val="2013999109"/>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SILVER HOLIDAY GIFT PACK 5 BLADE RAZOR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SILVER HOLIDAY GIFT PACK REM BLADES RAZOR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HERITAGE BLACK HOLIDAY GIFT PACK REM BLADES RAZOR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87493205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quate Vs. Competition | Walmart | Disposabl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CALIBER 5 5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TB (TWIN BLADE) BLU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SPEED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SPEED 3 SENSITIVE GREEN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CALIBER 3 3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NGLE SENSITIVE 1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5 BLADE DISPOSABLE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COMFORT 3 MULTI COLOR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FIXED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MULTI COLOR 3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PLUS PIVOT 2 BLADE DISPOSABLE NORMAL 1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FIXED 2 BLADE DISPOSABLE NORMAL 1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3 SENSITIVE GREEN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2995956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chick Vs. Competition | NATIONAL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AZOR DRY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1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AZOR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NAVY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3035723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quate Vs. Competition | NATIONAL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NAVY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043417710"/>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Cremo Vs. Competition | NATIONAL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3"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73703">
                  <a:extLst>
                    <a:ext uri="{9D8B030D-6E8A-4147-A177-3AD203B41FA5}">
                      <a16:colId xmlns:a16="http://schemas.microsoft.com/office/drawing/2014/main" val="1249427694"/>
                    </a:ext>
                  </a:extLst>
                </a:gridCol>
                <a:gridCol w="573703">
                  <a:extLst>
                    <a:ext uri="{9D8B030D-6E8A-4147-A177-3AD203B41FA5}">
                      <a16:colId xmlns:a16="http://schemas.microsoft.com/office/drawing/2014/main" val="2218987241"/>
                    </a:ext>
                  </a:extLst>
                </a:gridCol>
                <a:gridCol w="573703">
                  <a:extLst>
                    <a:ext uri="{9D8B030D-6E8A-4147-A177-3AD203B41FA5}">
                      <a16:colId xmlns:a16="http://schemas.microsoft.com/office/drawing/2014/main" val="3054438620"/>
                    </a:ext>
                  </a:extLst>
                </a:gridCol>
                <a:gridCol w="573703">
                  <a:extLst>
                    <a:ext uri="{9D8B030D-6E8A-4147-A177-3AD203B41FA5}">
                      <a16:colId xmlns:a16="http://schemas.microsoft.com/office/drawing/2014/main" val="310395072"/>
                    </a:ext>
                  </a:extLst>
                </a:gridCol>
                <a:gridCol w="573703">
                  <a:extLst>
                    <a:ext uri="{9D8B030D-6E8A-4147-A177-3AD203B41FA5}">
                      <a16:colId xmlns:a16="http://schemas.microsoft.com/office/drawing/2014/main" val="3260695282"/>
                    </a:ext>
                  </a:extLst>
                </a:gridCol>
                <a:gridCol w="573703">
                  <a:extLst>
                    <a:ext uri="{9D8B030D-6E8A-4147-A177-3AD203B41FA5}">
                      <a16:colId xmlns:a16="http://schemas.microsoft.com/office/drawing/2014/main" val="1819053712"/>
                    </a:ext>
                  </a:extLst>
                </a:gridCol>
                <a:gridCol w="573703">
                  <a:extLst>
                    <a:ext uri="{9D8B030D-6E8A-4147-A177-3AD203B41FA5}">
                      <a16:colId xmlns:a16="http://schemas.microsoft.com/office/drawing/2014/main" val="639641908"/>
                    </a:ext>
                  </a:extLst>
                </a:gridCol>
                <a:gridCol w="573703">
                  <a:extLst>
                    <a:ext uri="{9D8B030D-6E8A-4147-A177-3AD203B41FA5}">
                      <a16:colId xmlns:a16="http://schemas.microsoft.com/office/drawing/2014/main" val="3972879755"/>
                    </a:ext>
                  </a:extLst>
                </a:gridCol>
                <a:gridCol w="573703">
                  <a:extLst>
                    <a:ext uri="{9D8B030D-6E8A-4147-A177-3AD203B41FA5}">
                      <a16:colId xmlns:a16="http://schemas.microsoft.com/office/drawing/2014/main" val="3537530948"/>
                    </a:ext>
                  </a:extLst>
                </a:gridCol>
                <a:gridCol w="573703">
                  <a:extLst>
                    <a:ext uri="{9D8B030D-6E8A-4147-A177-3AD203B41FA5}">
                      <a16:colId xmlns:a16="http://schemas.microsoft.com/office/drawing/2014/main" val="3746584589"/>
                    </a:ext>
                  </a:extLst>
                </a:gridCol>
                <a:gridCol w="573703">
                  <a:extLst>
                    <a:ext uri="{9D8B030D-6E8A-4147-A177-3AD203B41FA5}">
                      <a16:colId xmlns:a16="http://schemas.microsoft.com/office/drawing/2014/main" val="2480078238"/>
                    </a:ext>
                  </a:extLst>
                </a:gridCol>
                <a:gridCol w="573703">
                  <a:extLst>
                    <a:ext uri="{9D8B030D-6E8A-4147-A177-3AD203B41FA5}">
                      <a16:colId xmlns:a16="http://schemas.microsoft.com/office/drawing/2014/main" val="461482366"/>
                    </a:ext>
                  </a:extLst>
                </a:gridCol>
                <a:gridCol w="573703">
                  <a:extLst>
                    <a:ext uri="{9D8B030D-6E8A-4147-A177-3AD203B41FA5}">
                      <a16:colId xmlns:a16="http://schemas.microsoft.com/office/drawing/2014/main" val="300012896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SILVER HOLIDAY GIFT PACK REM BLADES RAZOR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SILVER HOLIDAY GIFT PACK 5 BLADE RAZOR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NAVY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21899983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chick Vs. Competition | Walmart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3"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73703">
                  <a:extLst>
                    <a:ext uri="{9D8B030D-6E8A-4147-A177-3AD203B41FA5}">
                      <a16:colId xmlns:a16="http://schemas.microsoft.com/office/drawing/2014/main" val="1249427694"/>
                    </a:ext>
                  </a:extLst>
                </a:gridCol>
                <a:gridCol w="573703">
                  <a:extLst>
                    <a:ext uri="{9D8B030D-6E8A-4147-A177-3AD203B41FA5}">
                      <a16:colId xmlns:a16="http://schemas.microsoft.com/office/drawing/2014/main" val="2218987241"/>
                    </a:ext>
                  </a:extLst>
                </a:gridCol>
                <a:gridCol w="573703">
                  <a:extLst>
                    <a:ext uri="{9D8B030D-6E8A-4147-A177-3AD203B41FA5}">
                      <a16:colId xmlns:a16="http://schemas.microsoft.com/office/drawing/2014/main" val="3054438620"/>
                    </a:ext>
                  </a:extLst>
                </a:gridCol>
                <a:gridCol w="573703">
                  <a:extLst>
                    <a:ext uri="{9D8B030D-6E8A-4147-A177-3AD203B41FA5}">
                      <a16:colId xmlns:a16="http://schemas.microsoft.com/office/drawing/2014/main" val="310395072"/>
                    </a:ext>
                  </a:extLst>
                </a:gridCol>
                <a:gridCol w="573703">
                  <a:extLst>
                    <a:ext uri="{9D8B030D-6E8A-4147-A177-3AD203B41FA5}">
                      <a16:colId xmlns:a16="http://schemas.microsoft.com/office/drawing/2014/main" val="3260695282"/>
                    </a:ext>
                  </a:extLst>
                </a:gridCol>
                <a:gridCol w="573703">
                  <a:extLst>
                    <a:ext uri="{9D8B030D-6E8A-4147-A177-3AD203B41FA5}">
                      <a16:colId xmlns:a16="http://schemas.microsoft.com/office/drawing/2014/main" val="1819053712"/>
                    </a:ext>
                  </a:extLst>
                </a:gridCol>
                <a:gridCol w="573703">
                  <a:extLst>
                    <a:ext uri="{9D8B030D-6E8A-4147-A177-3AD203B41FA5}">
                      <a16:colId xmlns:a16="http://schemas.microsoft.com/office/drawing/2014/main" val="639641908"/>
                    </a:ext>
                  </a:extLst>
                </a:gridCol>
                <a:gridCol w="573703">
                  <a:extLst>
                    <a:ext uri="{9D8B030D-6E8A-4147-A177-3AD203B41FA5}">
                      <a16:colId xmlns:a16="http://schemas.microsoft.com/office/drawing/2014/main" val="3972879755"/>
                    </a:ext>
                  </a:extLst>
                </a:gridCol>
                <a:gridCol w="573703">
                  <a:extLst>
                    <a:ext uri="{9D8B030D-6E8A-4147-A177-3AD203B41FA5}">
                      <a16:colId xmlns:a16="http://schemas.microsoft.com/office/drawing/2014/main" val="3537530948"/>
                    </a:ext>
                  </a:extLst>
                </a:gridCol>
                <a:gridCol w="573703">
                  <a:extLst>
                    <a:ext uri="{9D8B030D-6E8A-4147-A177-3AD203B41FA5}">
                      <a16:colId xmlns:a16="http://schemas.microsoft.com/office/drawing/2014/main" val="3746584589"/>
                    </a:ext>
                  </a:extLst>
                </a:gridCol>
                <a:gridCol w="573703">
                  <a:extLst>
                    <a:ext uri="{9D8B030D-6E8A-4147-A177-3AD203B41FA5}">
                      <a16:colId xmlns:a16="http://schemas.microsoft.com/office/drawing/2014/main" val="2480078238"/>
                    </a:ext>
                  </a:extLst>
                </a:gridCol>
                <a:gridCol w="573703">
                  <a:extLst>
                    <a:ext uri="{9D8B030D-6E8A-4147-A177-3AD203B41FA5}">
                      <a16:colId xmlns:a16="http://schemas.microsoft.com/office/drawing/2014/main" val="461482366"/>
                    </a:ext>
                  </a:extLst>
                </a:gridCol>
                <a:gridCol w="573703">
                  <a:extLst>
                    <a:ext uri="{9D8B030D-6E8A-4147-A177-3AD203B41FA5}">
                      <a16:colId xmlns:a16="http://schemas.microsoft.com/office/drawing/2014/main" val="300012896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GRAY HOLIDAY GIFT PACK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CRAFT HANDLE SILVER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346468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quate Vs. Competition | Walmart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CRAFT HANDLE SILVER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571312324"/>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Cremo Vs. Competition | Walmart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CRAFT HANDLE SILVER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02874330"/>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chick Vs. Competition | NATIONAL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Philips Norelco One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EFILL DRY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STUBBLE ERASER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HILIPS NORELCO ONE BLADE 1 BLADE REFILL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3753938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quate Vs. Competition | NATIONAL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21511">
                  <a:extLst>
                    <a:ext uri="{9D8B030D-6E8A-4147-A177-3AD203B41FA5}">
                      <a16:colId xmlns:a16="http://schemas.microsoft.com/office/drawing/2014/main" val="1249427694"/>
                    </a:ext>
                  </a:extLst>
                </a:gridCol>
                <a:gridCol w="621511">
                  <a:extLst>
                    <a:ext uri="{9D8B030D-6E8A-4147-A177-3AD203B41FA5}">
                      <a16:colId xmlns:a16="http://schemas.microsoft.com/office/drawing/2014/main" val="2218987241"/>
                    </a:ext>
                  </a:extLst>
                </a:gridCol>
                <a:gridCol w="621511">
                  <a:extLst>
                    <a:ext uri="{9D8B030D-6E8A-4147-A177-3AD203B41FA5}">
                      <a16:colId xmlns:a16="http://schemas.microsoft.com/office/drawing/2014/main" val="3054438620"/>
                    </a:ext>
                  </a:extLst>
                </a:gridCol>
                <a:gridCol w="621511">
                  <a:extLst>
                    <a:ext uri="{9D8B030D-6E8A-4147-A177-3AD203B41FA5}">
                      <a16:colId xmlns:a16="http://schemas.microsoft.com/office/drawing/2014/main" val="310395072"/>
                    </a:ext>
                  </a:extLst>
                </a:gridCol>
                <a:gridCol w="621511">
                  <a:extLst>
                    <a:ext uri="{9D8B030D-6E8A-4147-A177-3AD203B41FA5}">
                      <a16:colId xmlns:a16="http://schemas.microsoft.com/office/drawing/2014/main" val="3260695282"/>
                    </a:ext>
                  </a:extLst>
                </a:gridCol>
                <a:gridCol w="621511">
                  <a:extLst>
                    <a:ext uri="{9D8B030D-6E8A-4147-A177-3AD203B41FA5}">
                      <a16:colId xmlns:a16="http://schemas.microsoft.com/office/drawing/2014/main" val="1819053712"/>
                    </a:ext>
                  </a:extLst>
                </a:gridCol>
                <a:gridCol w="621511">
                  <a:extLst>
                    <a:ext uri="{9D8B030D-6E8A-4147-A177-3AD203B41FA5}">
                      <a16:colId xmlns:a16="http://schemas.microsoft.com/office/drawing/2014/main" val="639641908"/>
                    </a:ext>
                  </a:extLst>
                </a:gridCol>
                <a:gridCol w="621511">
                  <a:extLst>
                    <a:ext uri="{9D8B030D-6E8A-4147-A177-3AD203B41FA5}">
                      <a16:colId xmlns:a16="http://schemas.microsoft.com/office/drawing/2014/main" val="3972879755"/>
                    </a:ext>
                  </a:extLst>
                </a:gridCol>
                <a:gridCol w="621511">
                  <a:extLst>
                    <a:ext uri="{9D8B030D-6E8A-4147-A177-3AD203B41FA5}">
                      <a16:colId xmlns:a16="http://schemas.microsoft.com/office/drawing/2014/main" val="3537530948"/>
                    </a:ext>
                  </a:extLst>
                </a:gridCol>
                <a:gridCol w="621511">
                  <a:extLst>
                    <a:ext uri="{9D8B030D-6E8A-4147-A177-3AD203B41FA5}">
                      <a16:colId xmlns:a16="http://schemas.microsoft.com/office/drawing/2014/main" val="3746584589"/>
                    </a:ext>
                  </a:extLst>
                </a:gridCol>
                <a:gridCol w="621511">
                  <a:extLst>
                    <a:ext uri="{9D8B030D-6E8A-4147-A177-3AD203B41FA5}">
                      <a16:colId xmlns:a16="http://schemas.microsoft.com/office/drawing/2014/main" val="2480078238"/>
                    </a:ext>
                  </a:extLst>
                </a:gridCol>
                <a:gridCol w="621511">
                  <a:extLst>
                    <a:ext uri="{9D8B030D-6E8A-4147-A177-3AD203B41FA5}">
                      <a16:colId xmlns:a16="http://schemas.microsoft.com/office/drawing/2014/main" val="46148236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Philips Norelco One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HILIPS NORELCO ONE BLADE 1 BLADE REFILL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927812431"/>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Cremo Vs. Competition | NATIONAL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Philips Norelco One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HILIPS NORELCO ONE BLADE 1 BLADE REFILL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84394080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chick | Bj's And Sam's | Manual Shave M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3 BLADE DISPOSABLE SENSITIVE 2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702590098"/>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chick Vs. Competition | Walmart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08893192"/>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quate Vs. Competition | Walmart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557237298"/>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Cremo Vs. Competition | Walmart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828682">
                  <a:extLst>
                    <a:ext uri="{9D8B030D-6E8A-4147-A177-3AD203B41FA5}">
                      <a16:colId xmlns:a16="http://schemas.microsoft.com/office/drawing/2014/main" val="1249427694"/>
                    </a:ext>
                  </a:extLst>
                </a:gridCol>
                <a:gridCol w="828682">
                  <a:extLst>
                    <a:ext uri="{9D8B030D-6E8A-4147-A177-3AD203B41FA5}">
                      <a16:colId xmlns:a16="http://schemas.microsoft.com/office/drawing/2014/main" val="2218987241"/>
                    </a:ext>
                  </a:extLst>
                </a:gridCol>
                <a:gridCol w="828682">
                  <a:extLst>
                    <a:ext uri="{9D8B030D-6E8A-4147-A177-3AD203B41FA5}">
                      <a16:colId xmlns:a16="http://schemas.microsoft.com/office/drawing/2014/main" val="3054438620"/>
                    </a:ext>
                  </a:extLst>
                </a:gridCol>
                <a:gridCol w="828682">
                  <a:extLst>
                    <a:ext uri="{9D8B030D-6E8A-4147-A177-3AD203B41FA5}">
                      <a16:colId xmlns:a16="http://schemas.microsoft.com/office/drawing/2014/main" val="310395072"/>
                    </a:ext>
                  </a:extLst>
                </a:gridCol>
                <a:gridCol w="828682">
                  <a:extLst>
                    <a:ext uri="{9D8B030D-6E8A-4147-A177-3AD203B41FA5}">
                      <a16:colId xmlns:a16="http://schemas.microsoft.com/office/drawing/2014/main" val="3260695282"/>
                    </a:ext>
                  </a:extLst>
                </a:gridCol>
                <a:gridCol w="828682">
                  <a:extLst>
                    <a:ext uri="{9D8B030D-6E8A-4147-A177-3AD203B41FA5}">
                      <a16:colId xmlns:a16="http://schemas.microsoft.com/office/drawing/2014/main" val="1819053712"/>
                    </a:ext>
                  </a:extLst>
                </a:gridCol>
                <a:gridCol w="828682">
                  <a:extLst>
                    <a:ext uri="{9D8B030D-6E8A-4147-A177-3AD203B41FA5}">
                      <a16:colId xmlns:a16="http://schemas.microsoft.com/office/drawing/2014/main" val="639641908"/>
                    </a:ext>
                  </a:extLst>
                </a:gridCol>
                <a:gridCol w="828682">
                  <a:extLst>
                    <a:ext uri="{9D8B030D-6E8A-4147-A177-3AD203B41FA5}">
                      <a16:colId xmlns:a16="http://schemas.microsoft.com/office/drawing/2014/main" val="3972879755"/>
                    </a:ext>
                  </a:extLst>
                </a:gridCol>
                <a:gridCol w="828682">
                  <a:extLst>
                    <a:ext uri="{9D8B030D-6E8A-4147-A177-3AD203B41FA5}">
                      <a16:colId xmlns:a16="http://schemas.microsoft.com/office/drawing/2014/main" val="353753094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902259749"/>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Manual Shave M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986116695"/>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Bj's And Sam's | Manual Shave M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957849067"/>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 Manual Shave M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19281894"/>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645822817"/>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857958794"/>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Disposabl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316817094"/>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 Disposabl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06864788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chick | Walmart | Manual Shave M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7">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HOLIDAY GIFT P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GRAY HOLIDAY GIFT PACK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03227562"/>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589021258"/>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161849820"/>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623095681"/>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365476588"/>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ctor | NATIONAL | Manual Shave M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ctor</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86279297"/>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ctor | Bj's And Sam's | Manual Shave M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ctor</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302083579"/>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ctor | Walmart | Manual Shave M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ctor</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756601400"/>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NATIONAL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874762220"/>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Bj's And Sam's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932976916"/>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Walmart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89082758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2.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42</TotalTime>
  <Words>11327</Words>
  <Application>Microsoft Office PowerPoint</Application>
  <PresentationFormat>On-screen Show (16:9)</PresentationFormat>
  <Paragraphs>5130</Paragraphs>
  <Slides>102</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02</vt:i4>
      </vt:variant>
    </vt:vector>
  </HeadingPairs>
  <TitlesOfParts>
    <vt:vector size="111" baseType="lpstr">
      <vt:lpstr>Aptos</vt:lpstr>
      <vt:lpstr>Arial</vt:lpstr>
      <vt:lpstr>Nexa</vt:lpstr>
      <vt:lpstr>Nexa Bold</vt:lpstr>
      <vt:lpstr>Nexa Book</vt:lpstr>
      <vt:lpstr>Nexa Book Italic</vt:lpstr>
      <vt:lpstr>Open Sans</vt:lpstr>
      <vt:lpstr>PricingOne Light Template Oct 2024</vt:lpstr>
      <vt:lpstr>think-cell Slide</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alma ANANY</cp:lastModifiedBy>
  <cp:revision>43</cp:revision>
  <dcterms:created xsi:type="dcterms:W3CDTF">2024-07-05T14:56:51Z</dcterms:created>
  <dcterms:modified xsi:type="dcterms:W3CDTF">2025-08-04T10:55: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